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4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5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6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7.xml" ContentType="application/vnd.openxmlformats-officedocument.theme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8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9.xml" ContentType="application/vnd.openxmlformats-officedocument.theme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10.xml" ContentType="application/vnd.openxmlformats-officedocument.theme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11.xml" ContentType="application/vnd.openxmlformats-officedocument.theme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12.xml" ContentType="application/vnd.openxmlformats-officedocument.theme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13.xml" ContentType="application/vnd.openxmlformats-officedocument.theme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theme/theme14.xml" ContentType="application/vnd.openxmlformats-officedocument.theme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theme/theme15.xml" ContentType="application/vnd.openxmlformats-officedocument.theme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theme/theme16.xml" ContentType="application/vnd.openxmlformats-officedocument.theme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theme/theme17.xml" ContentType="application/vnd.openxmlformats-officedocument.theme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theme/theme18.xml" ContentType="application/vnd.openxmlformats-officedocument.theme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theme/theme19.xml" ContentType="application/vnd.openxmlformats-officedocument.theme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theme/theme20.xml" ContentType="application/vnd.openxmlformats-officedocument.theme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theme/theme21.xml" ContentType="application/vnd.openxmlformats-officedocument.theme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theme/theme22.xml" ContentType="application/vnd.openxmlformats-officedocument.theme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theme/theme23.xml" ContentType="application/vnd.openxmlformats-officedocument.theme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theme/theme24.xml" ContentType="application/vnd.openxmlformats-officedocument.theme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theme/theme25.xml" ContentType="application/vnd.openxmlformats-officedocument.theme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theme/theme26.xml" ContentType="application/vnd.openxmlformats-officedocument.theme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theme/theme27.xml" ContentType="application/vnd.openxmlformats-officedocument.theme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theme/theme28.xml" ContentType="application/vnd.openxmlformats-officedocument.theme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theme/theme29.xml" ContentType="application/vnd.openxmlformats-officedocument.theme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theme/theme30.xml" ContentType="application/vnd.openxmlformats-officedocument.theme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theme/theme31.xml" ContentType="application/vnd.openxmlformats-officedocument.theme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theme/theme32.xml" ContentType="application/vnd.openxmlformats-officedocument.theme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theme/theme33.xml" ContentType="application/vnd.openxmlformats-officedocument.theme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theme/theme34.xml" ContentType="application/vnd.openxmlformats-officedocument.theme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theme/theme35.xml" ContentType="application/vnd.openxmlformats-officedocument.theme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theme/theme36.xml" ContentType="application/vnd.openxmlformats-officedocument.theme+xml"/>
  <Override PartName="/ppt/theme/theme37.xml" ContentType="application/vnd.openxmlformats-officedocument.theme+xml"/>
  <Override PartName="/ppt/theme/theme3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notesSlides/notesSlide7.xml" ContentType="application/vnd.openxmlformats-officedocument.presentationml.notesSlide+xml"/>
  <Override PartName="/ppt/charts/chart6.xml" ContentType="application/vnd.openxmlformats-officedocument.drawingml.chart+xml"/>
  <Override PartName="/ppt/drawings/drawing1.xml" ContentType="application/vnd.openxmlformats-officedocument.drawingml.chartshapes+xml"/>
  <Override PartName="/ppt/charts/chart7.xml" ContentType="application/vnd.openxmlformats-officedocument.drawingml.chart+xml"/>
  <Override PartName="/ppt/theme/themeOverride2.xml" ContentType="application/vnd.openxmlformats-officedocument.themeOverride+xml"/>
  <Override PartName="/ppt/charts/chart8.xml" ContentType="application/vnd.openxmlformats-officedocument.drawingml.chart+xml"/>
  <Override PartName="/ppt/theme/themeOverride3.xml" ContentType="application/vnd.openxmlformats-officedocument.themeOverride+xml"/>
  <Override PartName="/ppt/drawings/drawing2.xml" ContentType="application/vnd.openxmlformats-officedocument.drawingml.chartshapes+xml"/>
  <Override PartName="/ppt/charts/chart9.xml" ContentType="application/vnd.openxmlformats-officedocument.drawingml.chart+xml"/>
  <Override PartName="/ppt/theme/themeOverride4.xml" ContentType="application/vnd.openxmlformats-officedocument.themeOverride+xml"/>
  <Override PartName="/ppt/charts/chart10.xml" ContentType="application/vnd.openxmlformats-officedocument.drawingml.chart+xml"/>
  <Override PartName="/ppt/theme/themeOverride5.xml" ContentType="application/vnd.openxmlformats-officedocument.themeOverride+xml"/>
  <Override PartName="/ppt/drawings/drawing3.xml" ContentType="application/vnd.openxmlformats-officedocument.drawingml.chartshapes+xml"/>
  <Override PartName="/ppt/charts/chart11.xml" ContentType="application/vnd.openxmlformats-officedocument.drawingml.chart+xml"/>
  <Override PartName="/ppt/theme/themeOverride6.xml" ContentType="application/vnd.openxmlformats-officedocument.themeOverride+xml"/>
  <Override PartName="/ppt/drawings/drawing4.xml" ContentType="application/vnd.openxmlformats-officedocument.drawingml.chartshapes+xml"/>
  <Override PartName="/ppt/charts/chart12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9" r:id="rId1"/>
    <p:sldMasterId id="2147484223" r:id="rId2"/>
    <p:sldMasterId id="2147484236" r:id="rId3"/>
    <p:sldMasterId id="2147484248" r:id="rId4"/>
    <p:sldMasterId id="2147484260" r:id="rId5"/>
    <p:sldMasterId id="2147484273" r:id="rId6"/>
    <p:sldMasterId id="2147484285" r:id="rId7"/>
    <p:sldMasterId id="2147484297" r:id="rId8"/>
    <p:sldMasterId id="2147484309" r:id="rId9"/>
    <p:sldMasterId id="2147484321" r:id="rId10"/>
    <p:sldMasterId id="2147484333" r:id="rId11"/>
    <p:sldMasterId id="2147484345" r:id="rId12"/>
    <p:sldMasterId id="2147484357" r:id="rId13"/>
    <p:sldMasterId id="2147484370" r:id="rId14"/>
    <p:sldMasterId id="2147484382" r:id="rId15"/>
    <p:sldMasterId id="2147484394" r:id="rId16"/>
    <p:sldMasterId id="2147484406" r:id="rId17"/>
    <p:sldMasterId id="2147484418" r:id="rId18"/>
    <p:sldMasterId id="2147484430" r:id="rId19"/>
    <p:sldMasterId id="2147484442" r:id="rId20"/>
    <p:sldMasterId id="2147484515" r:id="rId21"/>
    <p:sldMasterId id="2147484527" r:id="rId22"/>
    <p:sldMasterId id="2147484540" r:id="rId23"/>
    <p:sldMasterId id="2147484577" r:id="rId24"/>
    <p:sldMasterId id="2147484590" r:id="rId25"/>
    <p:sldMasterId id="2147484602" r:id="rId26"/>
    <p:sldMasterId id="2147484614" r:id="rId27"/>
    <p:sldMasterId id="2147484626" r:id="rId28"/>
    <p:sldMasterId id="2147484638" r:id="rId29"/>
    <p:sldMasterId id="2147484651" r:id="rId30"/>
    <p:sldMasterId id="2147484663" r:id="rId31"/>
    <p:sldMasterId id="2147484675" r:id="rId32"/>
    <p:sldMasterId id="2147484687" r:id="rId33"/>
    <p:sldMasterId id="2147484699" r:id="rId34"/>
    <p:sldMasterId id="2147484711" r:id="rId35"/>
    <p:sldMasterId id="2147484723" r:id="rId36"/>
  </p:sldMasterIdLst>
  <p:notesMasterIdLst>
    <p:notesMasterId r:id="rId64"/>
  </p:notesMasterIdLst>
  <p:handoutMasterIdLst>
    <p:handoutMasterId r:id="rId65"/>
  </p:handoutMasterIdLst>
  <p:sldIdLst>
    <p:sldId id="340" r:id="rId37"/>
    <p:sldId id="569" r:id="rId38"/>
    <p:sldId id="571" r:id="rId39"/>
    <p:sldId id="572" r:id="rId40"/>
    <p:sldId id="573" r:id="rId41"/>
    <p:sldId id="574" r:id="rId42"/>
    <p:sldId id="575" r:id="rId43"/>
    <p:sldId id="576" r:id="rId44"/>
    <p:sldId id="577" r:id="rId45"/>
    <p:sldId id="543" r:id="rId46"/>
    <p:sldId id="581" r:id="rId47"/>
    <p:sldId id="582" r:id="rId48"/>
    <p:sldId id="584" r:id="rId49"/>
    <p:sldId id="585" r:id="rId50"/>
    <p:sldId id="583" r:id="rId51"/>
    <p:sldId id="524" r:id="rId52"/>
    <p:sldId id="586" r:id="rId53"/>
    <p:sldId id="587" r:id="rId54"/>
    <p:sldId id="588" r:id="rId55"/>
    <p:sldId id="536" r:id="rId56"/>
    <p:sldId id="561" r:id="rId57"/>
    <p:sldId id="564" r:id="rId58"/>
    <p:sldId id="565" r:id="rId59"/>
    <p:sldId id="566" r:id="rId60"/>
    <p:sldId id="567" r:id="rId61"/>
    <p:sldId id="568" r:id="rId62"/>
    <p:sldId id="339" r:id="rId63"/>
  </p:sldIdLst>
  <p:sldSz cx="9144000" cy="6858000" type="screen4x3"/>
  <p:notesSz cx="6858000" cy="9926638"/>
  <p:defaultTextStyle>
    <a:defPPr>
      <a:defRPr lang="bg-BG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D9CB985-1B3E-4597-973E-7142FB1E418D}">
          <p14:sldIdLst>
            <p14:sldId id="340"/>
            <p14:sldId id="569"/>
            <p14:sldId id="571"/>
            <p14:sldId id="572"/>
            <p14:sldId id="573"/>
            <p14:sldId id="574"/>
            <p14:sldId id="575"/>
            <p14:sldId id="576"/>
            <p14:sldId id="577"/>
            <p14:sldId id="543"/>
            <p14:sldId id="581"/>
            <p14:sldId id="582"/>
            <p14:sldId id="584"/>
            <p14:sldId id="585"/>
            <p14:sldId id="583"/>
            <p14:sldId id="524"/>
            <p14:sldId id="586"/>
            <p14:sldId id="587"/>
            <p14:sldId id="588"/>
            <p14:sldId id="536"/>
            <p14:sldId id="561"/>
            <p14:sldId id="564"/>
            <p14:sldId id="565"/>
            <p14:sldId id="566"/>
            <p14:sldId id="567"/>
            <p14:sldId id="568"/>
            <p14:sldId id="339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orient="horz" pos="3748">
          <p15:clr>
            <a:srgbClr val="A4A3A4"/>
          </p15:clr>
        </p15:guide>
        <p15:guide id="3" orient="horz" pos="935">
          <p15:clr>
            <a:srgbClr val="A4A3A4"/>
          </p15:clr>
        </p15:guide>
        <p15:guide id="4" pos="2880">
          <p15:clr>
            <a:srgbClr val="A4A3A4"/>
          </p15:clr>
        </p15:guide>
        <p15:guide id="5" pos="113">
          <p15:clr>
            <a:srgbClr val="A4A3A4"/>
          </p15:clr>
        </p15:guide>
        <p15:guide id="6" pos="5647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EE" initials="vp" lastIdx="1" clrIdx="0"/>
  <p:cmAuthor id="1" name="dstankova" initials="D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699"/>
    <a:srgbClr val="FF6600"/>
    <a:srgbClr val="EBD3F1"/>
    <a:srgbClr val="FF99CC"/>
    <a:srgbClr val="B6DF89"/>
    <a:srgbClr val="A6A6A6"/>
    <a:srgbClr val="EEEEEE"/>
    <a:srgbClr val="DDDDDD"/>
    <a:srgbClr val="D3ECF2"/>
    <a:srgbClr val="C4E59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414" autoAdjust="0"/>
    <p:restoredTop sz="83898" autoAdjust="0"/>
  </p:normalViewPr>
  <p:slideViewPr>
    <p:cSldViewPr>
      <p:cViewPr varScale="1">
        <p:scale>
          <a:sx n="91" d="100"/>
          <a:sy n="91" d="100"/>
        </p:scale>
        <p:origin x="-762" y="-102"/>
      </p:cViewPr>
      <p:guideLst>
        <p:guide orient="horz" pos="2160"/>
        <p:guide orient="horz" pos="3748"/>
        <p:guide orient="horz" pos="935"/>
        <p:guide pos="2880"/>
        <p:guide pos="113"/>
        <p:guide pos="5647"/>
      </p:guideLst>
    </p:cSldViewPr>
  </p:slideViewPr>
  <p:outlineViewPr>
    <p:cViewPr>
      <p:scale>
        <a:sx n="33" d="100"/>
        <a:sy n="33" d="100"/>
      </p:scale>
      <p:origin x="0" y="218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" Target="slides/slide3.xml"/><Relationship Id="rId21" Type="http://schemas.openxmlformats.org/officeDocument/2006/relationships/slideMaster" Target="slideMasters/slideMaster21.xml"/><Relationship Id="rId34" Type="http://schemas.openxmlformats.org/officeDocument/2006/relationships/slideMaster" Target="slideMasters/slideMaster34.xml"/><Relationship Id="rId42" Type="http://schemas.openxmlformats.org/officeDocument/2006/relationships/slide" Target="slides/slide6.xml"/><Relationship Id="rId47" Type="http://schemas.openxmlformats.org/officeDocument/2006/relationships/slide" Target="slides/slide11.xml"/><Relationship Id="rId50" Type="http://schemas.openxmlformats.org/officeDocument/2006/relationships/slide" Target="slides/slide14.xml"/><Relationship Id="rId55" Type="http://schemas.openxmlformats.org/officeDocument/2006/relationships/slide" Target="slides/slide19.xml"/><Relationship Id="rId63" Type="http://schemas.openxmlformats.org/officeDocument/2006/relationships/slide" Target="slides/slide27.xml"/><Relationship Id="rId68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Master" Target="slideMasters/slideMaster29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" Target="slides/slide1.xml"/><Relationship Id="rId40" Type="http://schemas.openxmlformats.org/officeDocument/2006/relationships/slide" Target="slides/slide4.xml"/><Relationship Id="rId45" Type="http://schemas.openxmlformats.org/officeDocument/2006/relationships/slide" Target="slides/slide9.xml"/><Relationship Id="rId53" Type="http://schemas.openxmlformats.org/officeDocument/2006/relationships/slide" Target="slides/slide17.xml"/><Relationship Id="rId58" Type="http://schemas.openxmlformats.org/officeDocument/2006/relationships/slide" Target="slides/slide22.xml"/><Relationship Id="rId66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49" Type="http://schemas.openxmlformats.org/officeDocument/2006/relationships/slide" Target="slides/slide13.xml"/><Relationship Id="rId57" Type="http://schemas.openxmlformats.org/officeDocument/2006/relationships/slide" Target="slides/slide21.xml"/><Relationship Id="rId61" Type="http://schemas.openxmlformats.org/officeDocument/2006/relationships/slide" Target="slides/slide25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Master" Target="slideMasters/slideMaster31.xml"/><Relationship Id="rId44" Type="http://schemas.openxmlformats.org/officeDocument/2006/relationships/slide" Target="slides/slide8.xml"/><Relationship Id="rId52" Type="http://schemas.openxmlformats.org/officeDocument/2006/relationships/slide" Target="slides/slide16.xml"/><Relationship Id="rId60" Type="http://schemas.openxmlformats.org/officeDocument/2006/relationships/slide" Target="slides/slide24.xml"/><Relationship Id="rId65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slide" Target="slides/slide7.xml"/><Relationship Id="rId48" Type="http://schemas.openxmlformats.org/officeDocument/2006/relationships/slide" Target="slides/slide12.xml"/><Relationship Id="rId56" Type="http://schemas.openxmlformats.org/officeDocument/2006/relationships/slide" Target="slides/slide20.xml"/><Relationship Id="rId64" Type="http://schemas.openxmlformats.org/officeDocument/2006/relationships/notesMaster" Target="notesMasters/notesMaster1.xml"/><Relationship Id="rId69" Type="http://schemas.openxmlformats.org/officeDocument/2006/relationships/theme" Target="theme/theme1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" Target="slides/slide2.xml"/><Relationship Id="rId46" Type="http://schemas.openxmlformats.org/officeDocument/2006/relationships/slide" Target="slides/slide10.xml"/><Relationship Id="rId59" Type="http://schemas.openxmlformats.org/officeDocument/2006/relationships/slide" Target="slides/slide23.xml"/><Relationship Id="rId67" Type="http://schemas.openxmlformats.org/officeDocument/2006/relationships/presProps" Target="presProps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5.xml"/><Relationship Id="rId54" Type="http://schemas.openxmlformats.org/officeDocument/2006/relationships/slide" Target="slides/slide18.xml"/><Relationship Id="rId62" Type="http://schemas.openxmlformats.org/officeDocument/2006/relationships/slide" Target="slides/slide26.xml"/><Relationship Id="rId7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3.xml"/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5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4.xml"/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6.xm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galinageorgieva\AppData\Local\Temp\XPgrpwise\Supporting%20Document%20-%20Quarterly%20-%20SMEi%20Bulgaria%20-%2030_06_20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1.bin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../embeddings/oleObject2.bin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3.bin"/><Relationship Id="rId1" Type="http://schemas.openxmlformats.org/officeDocument/2006/relationships/themeOverride" Target="../theme/themeOverride2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oleObject" Target="../embeddings/oleObject4.bin"/><Relationship Id="rId1" Type="http://schemas.openxmlformats.org/officeDocument/2006/relationships/themeOverride" Target="../theme/themeOverride3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bg-BG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Copy of Supporting Document - Quarterly - SMEi Bulgaria - 31_03_20 (version 1) (version 1).xlsb]Sheet1!PivotTable1</c:name>
    <c:fmtId val="-1"/>
  </c:pivotSource>
  <c:chart>
    <c:title>
      <c:tx>
        <c:rich>
          <a:bodyPr/>
          <a:lstStyle/>
          <a:p>
            <a:pPr>
              <a:defRPr sz="1000"/>
            </a:pPr>
            <a:r>
              <a:rPr lang="bg-BG" sz="1000" b="1" dirty="0" smtClean="0">
                <a:effectLst/>
                <a:latin typeface="Palatino Linotype" panose="02040502050505030304" pitchFamily="18" charset="0"/>
              </a:rPr>
              <a:t>Портфейл по категория</a:t>
            </a:r>
            <a:endParaRPr lang="bg-BG" sz="1000" dirty="0">
              <a:effectLst/>
              <a:latin typeface="Palatino Linotype" panose="02040502050505030304" pitchFamily="18" charset="0"/>
            </a:endParaRPr>
          </a:p>
        </c:rich>
      </c:tx>
      <c:layout/>
      <c:overlay val="0"/>
    </c:title>
    <c:autoTitleDeleted val="0"/>
    <c:pivotFmts>
      <c:pivotFmt>
        <c:idx val="0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bg-BG"/>
            </a:p>
          </c:txPr>
          <c:showLegendKey val="0"/>
          <c:showVal val="0"/>
          <c:showCatName val="1"/>
          <c:showSerName val="0"/>
          <c:showPercent val="1"/>
          <c:showBubbleSize val="0"/>
        </c:dLbl>
      </c:pivotFmt>
      <c:pivotFmt>
        <c:idx val="1"/>
        <c:spPr>
          <a:solidFill>
            <a:schemeClr val="accent6"/>
          </a:solidFill>
        </c:spPr>
      </c:pivotFmt>
      <c:pivotFmt>
        <c:idx val="2"/>
        <c:spPr>
          <a:solidFill>
            <a:schemeClr val="accent4">
              <a:lumMod val="60000"/>
              <a:lumOff val="40000"/>
            </a:schemeClr>
          </a:solidFill>
        </c:spPr>
      </c:pivotFmt>
      <c:pivotFmt>
        <c:idx val="3"/>
        <c:spPr>
          <a:solidFill>
            <a:schemeClr val="accent3"/>
          </a:solidFill>
        </c:spPr>
      </c:pivotFmt>
      <c:pivotFmt>
        <c:idx val="4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bg-BG"/>
            </a:p>
          </c:txPr>
          <c:showLegendKey val="0"/>
          <c:showVal val="0"/>
          <c:showCatName val="1"/>
          <c:showSerName val="0"/>
          <c:showPercent val="1"/>
          <c:showBubbleSize val="0"/>
        </c:dLbl>
      </c:pivotFmt>
      <c:pivotFmt>
        <c:idx val="5"/>
        <c:spPr>
          <a:solidFill>
            <a:schemeClr val="accent3"/>
          </a:solidFill>
        </c:spPr>
        <c:dLbl>
          <c:idx val="0"/>
          <c:layout>
            <c:manualLayout>
              <c:x val="-9.6801020408163282E-2"/>
              <c:y val="0.11554391891891905"/>
            </c:manualLayout>
          </c:layout>
          <c:showLegendKey val="0"/>
          <c:showVal val="0"/>
          <c:showCatName val="1"/>
          <c:showSerName val="0"/>
          <c:showPercent val="1"/>
          <c:showBubbleSize val="0"/>
        </c:dLbl>
      </c:pivotFmt>
      <c:pivotFmt>
        <c:idx val="6"/>
        <c:spPr>
          <a:solidFill>
            <a:schemeClr val="accent6"/>
          </a:solidFill>
        </c:spPr>
      </c:pivotFmt>
      <c:pivotFmt>
        <c:idx val="7"/>
        <c:spPr>
          <a:solidFill>
            <a:schemeClr val="accent4">
              <a:lumMod val="60000"/>
              <a:lumOff val="40000"/>
            </a:schemeClr>
          </a:solidFill>
        </c:spPr>
      </c:pivotFmt>
      <c:pivotFmt>
        <c:idx val="8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bg-BG"/>
            </a:p>
          </c:txPr>
          <c:showLegendKey val="0"/>
          <c:showVal val="0"/>
          <c:showCatName val="1"/>
          <c:showSerName val="0"/>
          <c:showPercent val="1"/>
          <c:showBubbleSize val="0"/>
        </c:dLbl>
      </c:pivotFmt>
      <c:pivotFmt>
        <c:idx val="9"/>
        <c:spPr>
          <a:solidFill>
            <a:schemeClr val="accent3"/>
          </a:solidFill>
        </c:spPr>
        <c:dLbl>
          <c:idx val="0"/>
          <c:layout>
            <c:manualLayout>
              <c:x val="-9.6801020408163282E-2"/>
              <c:y val="0.11554391891891905"/>
            </c:manualLayout>
          </c:layout>
          <c:showLegendKey val="0"/>
          <c:showVal val="0"/>
          <c:showCatName val="1"/>
          <c:showSerName val="0"/>
          <c:showPercent val="1"/>
          <c:showBubbleSize val="0"/>
        </c:dLbl>
      </c:pivotFmt>
      <c:pivotFmt>
        <c:idx val="10"/>
        <c:spPr>
          <a:solidFill>
            <a:schemeClr val="accent6"/>
          </a:solidFill>
        </c:spPr>
      </c:pivotFmt>
      <c:pivotFmt>
        <c:idx val="11"/>
        <c:spPr>
          <a:solidFill>
            <a:schemeClr val="accent4">
              <a:lumMod val="60000"/>
              <a:lumOff val="40000"/>
            </a:schemeClr>
          </a:solidFill>
        </c:spPr>
      </c:pivotFmt>
      <c:pivotFmt>
        <c:idx val="12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bg-BG"/>
            </a:p>
          </c:txPr>
          <c:showLegendKey val="0"/>
          <c:showVal val="0"/>
          <c:showCatName val="1"/>
          <c:showSerName val="0"/>
          <c:showPercent val="1"/>
          <c:showBubbleSize val="0"/>
        </c:dLbl>
      </c:pivotFmt>
      <c:pivotFmt>
        <c:idx val="13"/>
        <c:spPr>
          <a:solidFill>
            <a:schemeClr val="accent3"/>
          </a:solidFill>
        </c:spPr>
        <c:dLbl>
          <c:idx val="0"/>
          <c:layout>
            <c:manualLayout>
              <c:x val="-9.6801020408163282E-2"/>
              <c:y val="0.11554391891891905"/>
            </c:manualLayout>
          </c:layout>
          <c:showLegendKey val="0"/>
          <c:showVal val="0"/>
          <c:showCatName val="1"/>
          <c:showSerName val="0"/>
          <c:showPercent val="1"/>
          <c:showBubbleSize val="0"/>
        </c:dLbl>
      </c:pivotFmt>
      <c:pivotFmt>
        <c:idx val="14"/>
        <c:spPr>
          <a:solidFill>
            <a:schemeClr val="accent6"/>
          </a:solidFill>
        </c:spPr>
      </c:pivotFmt>
      <c:pivotFmt>
        <c:idx val="15"/>
        <c:spPr>
          <a:solidFill>
            <a:schemeClr val="accent4">
              <a:lumMod val="60000"/>
              <a:lumOff val="40000"/>
            </a:schemeClr>
          </a:solidFill>
        </c:spPr>
      </c:pivotFmt>
    </c:pivotFmts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tx>
            <c:strRef>
              <c:f>Sheet1!$B$3</c:f>
              <c:strCache>
                <c:ptCount val="1"/>
                <c:pt idx="0">
                  <c:v>Total</c:v>
                </c:pt>
              </c:strCache>
            </c:strRef>
          </c:tx>
          <c:explosion val="10"/>
          <c:dPt>
            <c:idx val="0"/>
            <c:bubble3D val="0"/>
            <c:spPr>
              <a:solidFill>
                <a:srgbClr val="EEECE1">
                  <a:lumMod val="75000"/>
                </a:srgbClr>
              </a:solidFill>
            </c:spPr>
          </c:dPt>
          <c:dPt>
            <c:idx val="1"/>
            <c:bubble3D val="0"/>
            <c:spPr>
              <a:solidFill>
                <a:srgbClr val="8064A2">
                  <a:lumMod val="60000"/>
                  <a:lumOff val="40000"/>
                </a:srgbClr>
              </a:solidFill>
            </c:spPr>
          </c:dPt>
          <c:dPt>
            <c:idx val="2"/>
            <c:bubble3D val="0"/>
            <c:spPr>
              <a:solidFill>
                <a:srgbClr val="F79646"/>
              </a:solidFill>
            </c:spPr>
          </c:dPt>
          <c:dLbls>
            <c:dLbl>
              <c:idx val="0"/>
              <c:layout>
                <c:manualLayout>
                  <c:x val="-9.6800842850199173E-2"/>
                  <c:y val="5.8853083784341474E-2"/>
                </c:manualLayout>
              </c:layout>
              <c:tx>
                <c:rich>
                  <a:bodyPr/>
                  <a:lstStyle/>
                  <a:p>
                    <a:r>
                      <a:rPr lang="bg-BG" dirty="0" smtClean="0"/>
                      <a:t>Средно </a:t>
                    </a:r>
                    <a:r>
                      <a:rPr lang="en-US" dirty="0" smtClean="0"/>
                      <a:t>1</a:t>
                    </a:r>
                    <a:r>
                      <a:rPr lang="bg-BG" dirty="0" smtClean="0"/>
                      <a:t>1</a:t>
                    </a:r>
                    <a:r>
                      <a:rPr lang="en-US" dirty="0" smtClean="0"/>
                      <a:t>%</a:t>
                    </a:r>
                    <a:endParaRPr lang="en-US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bg-BG" dirty="0" smtClean="0"/>
                      <a:t>Малко</a:t>
                    </a:r>
                    <a:r>
                      <a:rPr lang="en-US" dirty="0"/>
                      <a:t>
</a:t>
                    </a:r>
                    <a:r>
                      <a:rPr lang="en-US" dirty="0" smtClean="0"/>
                      <a:t>3</a:t>
                    </a:r>
                    <a:r>
                      <a:rPr lang="bg-BG" dirty="0" smtClean="0"/>
                      <a:t>6</a:t>
                    </a:r>
                    <a:r>
                      <a:rPr lang="en-US" dirty="0" smtClean="0"/>
                      <a:t>%</a:t>
                    </a:r>
                    <a:endParaRPr lang="en-US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bg-BG" dirty="0" err="1" smtClean="0"/>
                      <a:t>Микро</a:t>
                    </a:r>
                    <a:r>
                      <a:rPr lang="en-US" dirty="0"/>
                      <a:t>
</a:t>
                    </a:r>
                    <a:r>
                      <a:rPr lang="en-US" dirty="0" smtClean="0"/>
                      <a:t>5</a:t>
                    </a:r>
                    <a:r>
                      <a:rPr lang="bg-BG" dirty="0" smtClean="0"/>
                      <a:t>3</a:t>
                    </a:r>
                    <a:r>
                      <a:rPr lang="en-US" dirty="0" smtClean="0"/>
                      <a:t>%</a:t>
                    </a:r>
                    <a:endParaRPr lang="en-US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txPr>
              <a:bodyPr/>
              <a:lstStyle/>
              <a:p>
                <a:pPr>
                  <a:defRPr/>
                </a:pPr>
                <a:endParaRPr lang="bg-BG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</c:dLbls>
          <c:cat>
            <c:strRef>
              <c:f>Sheet1!$A$4:$A$7</c:f>
              <c:strCache>
                <c:ptCount val="3"/>
                <c:pt idx="0">
                  <c:v>MEDIUM</c:v>
                </c:pt>
                <c:pt idx="1">
                  <c:v>SMALL</c:v>
                </c:pt>
                <c:pt idx="2">
                  <c:v>MICRO</c:v>
                </c:pt>
              </c:strCache>
            </c:strRef>
          </c:cat>
          <c:val>
            <c:numRef>
              <c:f>Sheet1!$B$4:$B$7</c:f>
              <c:numCache>
                <c:formatCode>General</c:formatCode>
                <c:ptCount val="3"/>
                <c:pt idx="0">
                  <c:v>62</c:v>
                </c:pt>
                <c:pt idx="1">
                  <c:v>200</c:v>
                </c:pt>
                <c:pt idx="2">
                  <c:v>349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</c:pie3DChart>
      <c:spPr>
        <a:noFill/>
      </c:spPr>
    </c:plotArea>
    <c:plotVisOnly val="1"/>
    <c:dispBlanksAs val="zero"/>
    <c:showDLblsOverMax val="0"/>
  </c:chart>
  <c:spPr>
    <a:noFill/>
    <a:ln w="3175" cmpd="sng">
      <a:noFill/>
    </a:ln>
    <a:effectLst/>
  </c:spPr>
  <c:externalData r:id="rId2">
    <c:autoUpdate val="0"/>
  </c:externalData>
  <c:extLst>
    <c:ext xmlns:c14="http://schemas.microsoft.com/office/drawing/2007/8/2/chart" uri="{781A3756-C4B2-4CAC-9D66-4F8BD8637D16}">
      <c14:pivotOptions>
        <c14:dropZoneFilter val="1"/>
        <c14:dropZoneSeries val="1"/>
        <c14:dropZonesVisible val="1"/>
      </c14:pivotOptions>
    </c:ext>
  </c:extLst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bg-BG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bg-BG" sz="1200" dirty="0" smtClean="0"/>
              <a:t>Южен Централен</a:t>
            </a:r>
            <a:endParaRPr lang="en-US" sz="1200" dirty="0"/>
          </a:p>
        </c:rich>
      </c:tx>
      <c:layout>
        <c:manualLayout>
          <c:xMode val="edge"/>
          <c:yMode val="edge"/>
          <c:x val="0.36492366579177604"/>
          <c:y val="8.7962962962962965E-2"/>
        </c:manualLayout>
      </c:layout>
      <c:overlay val="0"/>
    </c:title>
    <c:autoTitleDeleted val="0"/>
    <c:plotArea>
      <c:layout/>
      <c:doughnutChart>
        <c:varyColors val="1"/>
        <c:ser>
          <c:idx val="0"/>
          <c:order val="0"/>
          <c:spPr>
            <a:ln>
              <a:solidFill>
                <a:schemeClr val="bg1"/>
              </a:solidFill>
            </a:ln>
          </c:spPr>
          <c:explosion val="7"/>
          <c:dPt>
            <c:idx val="0"/>
            <c:bubble3D val="0"/>
            <c:spPr>
              <a:solidFill>
                <a:srgbClr val="114FA0"/>
              </a:solidFill>
              <a:ln>
                <a:solidFill>
                  <a:schemeClr val="bg1"/>
                </a:solidFill>
              </a:ln>
            </c:spPr>
          </c:dPt>
          <c:dPt>
            <c:idx val="1"/>
            <c:bubble3D val="0"/>
            <c:spPr>
              <a:solidFill>
                <a:srgbClr val="FFC000"/>
              </a:solidFill>
              <a:ln>
                <a:solidFill>
                  <a:schemeClr val="bg1"/>
                </a:solidFill>
              </a:ln>
            </c:spPr>
          </c:dPt>
          <c:dPt>
            <c:idx val="2"/>
            <c:bubble3D val="0"/>
            <c:spPr>
              <a:solidFill>
                <a:sysClr val="window" lastClr="FFFFFF">
                  <a:lumMod val="65000"/>
                </a:sysClr>
              </a:solidFill>
              <a:ln>
                <a:solidFill>
                  <a:schemeClr val="bg1"/>
                </a:solidFill>
              </a:ln>
            </c:spPr>
          </c:dPt>
          <c:dPt>
            <c:idx val="3"/>
            <c:bubble3D val="0"/>
            <c:spPr>
              <a:solidFill>
                <a:srgbClr val="B6B6B6">
                  <a:lumMod val="50000"/>
                </a:srgbClr>
              </a:solidFill>
              <a:ln>
                <a:solidFill>
                  <a:schemeClr val="bg1"/>
                </a:solidFill>
              </a:ln>
            </c:spPr>
          </c:dPt>
          <c:dPt>
            <c:idx val="4"/>
            <c:bubble3D val="0"/>
            <c:spPr>
              <a:solidFill>
                <a:srgbClr val="009999"/>
              </a:solidFill>
              <a:ln>
                <a:solidFill>
                  <a:schemeClr val="bg1"/>
                </a:solidFill>
              </a:ln>
            </c:spPr>
          </c:dPt>
          <c:dPt>
            <c:idx val="5"/>
            <c:bubble3D val="0"/>
            <c:spPr>
              <a:solidFill>
                <a:srgbClr val="754A86"/>
              </a:solidFill>
              <a:ln>
                <a:solidFill>
                  <a:schemeClr val="bg1"/>
                </a:solidFill>
              </a:ln>
            </c:spPr>
          </c:dPt>
          <c:dLbls>
            <c:dLbl>
              <c:idx val="0"/>
              <c:spPr/>
              <c:txPr>
                <a:bodyPr/>
                <a:lstStyle/>
                <a:p>
                  <a:pPr>
                    <a:defRPr sz="900" b="1">
                      <a:solidFill>
                        <a:schemeClr val="bg1"/>
                      </a:solidFill>
                    </a:defRPr>
                  </a:pPr>
                  <a:endParaRPr lang="bg-BG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"/>
              <c:spPr/>
              <c:txPr>
                <a:bodyPr/>
                <a:lstStyle/>
                <a:p>
                  <a:pPr>
                    <a:defRPr sz="900" b="1">
                      <a:solidFill>
                        <a:sysClr val="windowText" lastClr="000000"/>
                      </a:solidFill>
                    </a:defRPr>
                  </a:pPr>
                  <a:endParaRPr lang="bg-BG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2"/>
              <c:layout>
                <c:manualLayout>
                  <c:x val="6.1111111111111012E-2"/>
                  <c:y val="-0.11111147564887722"/>
                </c:manualLayout>
              </c:layout>
              <c:tx>
                <c:rich>
                  <a:bodyPr/>
                  <a:lstStyle/>
                  <a:p>
                    <a:pPr>
                      <a:defRPr sz="800" b="1">
                        <a:solidFill>
                          <a:sysClr val="windowText" lastClr="000000"/>
                        </a:solidFill>
                      </a:defRPr>
                    </a:pPr>
                    <a:r>
                      <a:rPr lang="bg-BG" sz="800" noProof="0" dirty="0" smtClean="0"/>
                      <a:t>Транспорт, складиране и пощи, 5%</a:t>
                    </a:r>
                    <a:endParaRPr lang="bg-BG" sz="800" noProof="0" dirty="0"/>
                  </a:p>
                </c:rich>
              </c:tx>
              <c:spPr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3"/>
              <c:layout>
                <c:manualLayout>
                  <c:x val="0.1000000000000001"/>
                  <c:y val="-6.018518518518523E-2"/>
                </c:manualLayout>
              </c:layout>
              <c:tx>
                <c:rich>
                  <a:bodyPr/>
                  <a:lstStyle/>
                  <a:p>
                    <a:pPr>
                      <a:defRPr sz="800" b="1">
                        <a:solidFill>
                          <a:sysClr val="windowText" lastClr="000000"/>
                        </a:solidFill>
                      </a:defRPr>
                    </a:pPr>
                    <a:r>
                      <a:rPr lang="bg-BG" sz="800" dirty="0" smtClean="0"/>
                      <a:t>Други, 4</a:t>
                    </a:r>
                    <a:r>
                      <a:rPr lang="bg-BG" sz="800" dirty="0"/>
                      <a:t>%</a:t>
                    </a:r>
                  </a:p>
                </c:rich>
              </c:tx>
              <c:spPr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4"/>
              <c:layout>
                <c:manualLayout>
                  <c:x val="0.10833333333333334"/>
                  <c:y val="-4.6296296296296294E-3"/>
                </c:manualLayout>
              </c:layout>
              <c:tx>
                <c:rich>
                  <a:bodyPr/>
                  <a:lstStyle/>
                  <a:p>
                    <a:r>
                      <a:rPr lang="bg-BG" sz="800" smtClean="0"/>
                      <a:t>Строителство, 4</a:t>
                    </a:r>
                    <a:r>
                      <a:rPr lang="bg-BG" sz="800"/>
                      <a:t>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5"/>
              <c:layout>
                <c:manualLayout>
                  <c:x val="0.14444422572178478"/>
                  <c:y val="5.5555555555555552E-2"/>
                </c:manualLayout>
              </c:layout>
              <c:tx>
                <c:rich>
                  <a:bodyPr/>
                  <a:lstStyle/>
                  <a:p>
                    <a:pPr>
                      <a:defRPr sz="800" b="1">
                        <a:solidFill>
                          <a:sysClr val="windowText" lastClr="000000"/>
                        </a:solidFill>
                      </a:defRPr>
                    </a:pPr>
                    <a:r>
                      <a:rPr lang="bg-BG" sz="800" dirty="0"/>
                      <a:t>Хотелиерство и </a:t>
                    </a:r>
                    <a:r>
                      <a:rPr lang="bg-BG" sz="800" dirty="0" smtClean="0"/>
                      <a:t>ресторантьорство,1</a:t>
                    </a:r>
                    <a:r>
                      <a:rPr lang="bg-BG" sz="800" dirty="0"/>
                      <a:t>%</a:t>
                    </a:r>
                  </a:p>
                </c:rich>
              </c:tx>
              <c:spPr/>
              <c:showLegendKey val="0"/>
              <c:showVal val="0"/>
              <c:showCatName val="1"/>
              <c:showSerName val="0"/>
              <c:showPercent val="1"/>
              <c:showBubbleSize val="0"/>
            </c:dLbl>
            <c:txPr>
              <a:bodyPr/>
              <a:lstStyle/>
              <a:p>
                <a:pPr>
                  <a:defRPr b="1">
                    <a:solidFill>
                      <a:sysClr val="windowText" lastClr="000000"/>
                    </a:solidFill>
                  </a:defRPr>
                </a:pPr>
                <a:endParaRPr lang="bg-BG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</c:dLbls>
          <c:cat>
            <c:strRef>
              <c:f>Sheet4!$A$47:$A$52</c:f>
              <c:strCache>
                <c:ptCount val="6"/>
                <c:pt idx="0">
                  <c:v>Преработваща промишленост</c:v>
                </c:pt>
                <c:pt idx="1">
                  <c:v>Търговия; Ремонт на автомобили и мотоциклети</c:v>
                </c:pt>
                <c:pt idx="2">
                  <c:v>Транспорт, складиране и пощи</c:v>
                </c:pt>
                <c:pt idx="3">
                  <c:v>Други</c:v>
                </c:pt>
                <c:pt idx="4">
                  <c:v>Строителство</c:v>
                </c:pt>
                <c:pt idx="5">
                  <c:v>Хотелиерство и ресторантьорство</c:v>
                </c:pt>
              </c:strCache>
            </c:strRef>
          </c:cat>
          <c:val>
            <c:numRef>
              <c:f>Sheet4!$B$47:$B$52</c:f>
              <c:numCache>
                <c:formatCode>0</c:formatCode>
                <c:ptCount val="6"/>
                <c:pt idx="0">
                  <c:v>14533051.073268997</c:v>
                </c:pt>
                <c:pt idx="1">
                  <c:v>11373159.349238997</c:v>
                </c:pt>
                <c:pt idx="2">
                  <c:v>1609096.874478</c:v>
                </c:pt>
                <c:pt idx="3">
                  <c:v>1126203</c:v>
                </c:pt>
                <c:pt idx="4">
                  <c:v>1092555.104485</c:v>
                </c:pt>
                <c:pt idx="5">
                  <c:v>417725.466938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90"/>
        <c:holeSize val="32"/>
      </c:doughnutChart>
    </c:plotArea>
    <c:plotVisOnly val="1"/>
    <c:dispBlanksAs val="gap"/>
    <c:showDLblsOverMax val="0"/>
  </c:chart>
  <c:spPr>
    <a:noFill/>
    <a:ln>
      <a:noFill/>
    </a:ln>
  </c:spPr>
  <c:externalData r:id="rId2">
    <c:autoUpdate val="0"/>
  </c:externalData>
  <c:userShapes r:id="rId3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bg-BG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bg-BG" sz="1200" dirty="0" smtClean="0"/>
              <a:t>Югоизточен</a:t>
            </a:r>
            <a:endParaRPr lang="en-US" sz="1200" dirty="0"/>
          </a:p>
        </c:rich>
      </c:tx>
      <c:layout>
        <c:manualLayout>
          <c:xMode val="edge"/>
          <c:yMode val="edge"/>
          <c:x val="0.29468044619422573"/>
          <c:y val="0.10185185185185185"/>
        </c:manualLayout>
      </c:layout>
      <c:overlay val="0"/>
    </c:title>
    <c:autoTitleDeleted val="0"/>
    <c:plotArea>
      <c:layout/>
      <c:doughnutChart>
        <c:varyColors val="1"/>
        <c:ser>
          <c:idx val="0"/>
          <c:order val="0"/>
          <c:spPr>
            <a:ln>
              <a:solidFill>
                <a:schemeClr val="bg1"/>
              </a:solidFill>
            </a:ln>
          </c:spPr>
          <c:explosion val="7"/>
          <c:dPt>
            <c:idx val="0"/>
            <c:bubble3D val="0"/>
            <c:spPr>
              <a:solidFill>
                <a:srgbClr val="FFC000"/>
              </a:solidFill>
              <a:ln>
                <a:solidFill>
                  <a:schemeClr val="bg1"/>
                </a:solidFill>
              </a:ln>
            </c:spPr>
          </c:dPt>
          <c:dPt>
            <c:idx val="1"/>
            <c:bubble3D val="0"/>
            <c:spPr>
              <a:solidFill>
                <a:srgbClr val="114FA0"/>
              </a:solidFill>
              <a:ln>
                <a:solidFill>
                  <a:schemeClr val="bg1"/>
                </a:solidFill>
              </a:ln>
            </c:spPr>
          </c:dPt>
          <c:dPt>
            <c:idx val="2"/>
            <c:bubble3D val="0"/>
            <c:spPr>
              <a:solidFill>
                <a:sysClr val="window" lastClr="FFFFFF">
                  <a:lumMod val="65000"/>
                </a:sysClr>
              </a:solidFill>
              <a:ln>
                <a:solidFill>
                  <a:schemeClr val="bg1"/>
                </a:solidFill>
              </a:ln>
            </c:spPr>
          </c:dPt>
          <c:dPt>
            <c:idx val="3"/>
            <c:bubble3D val="0"/>
            <c:spPr>
              <a:solidFill>
                <a:srgbClr val="009999"/>
              </a:solidFill>
              <a:ln>
                <a:solidFill>
                  <a:schemeClr val="bg1"/>
                </a:solidFill>
              </a:ln>
            </c:spPr>
          </c:dPt>
          <c:dPt>
            <c:idx val="4"/>
            <c:bubble3D val="0"/>
            <c:spPr>
              <a:solidFill>
                <a:srgbClr val="754A86"/>
              </a:solidFill>
              <a:ln>
                <a:solidFill>
                  <a:schemeClr val="bg1"/>
                </a:solidFill>
              </a:ln>
            </c:spPr>
          </c:dPt>
          <c:dPt>
            <c:idx val="5"/>
            <c:bubble3D val="0"/>
            <c:spPr>
              <a:solidFill>
                <a:srgbClr val="B6B6B6">
                  <a:lumMod val="50000"/>
                </a:srgbClr>
              </a:solidFill>
              <a:ln>
                <a:solidFill>
                  <a:schemeClr val="bg1"/>
                </a:solidFill>
              </a:ln>
            </c:spPr>
          </c:dPt>
          <c:dLbls>
            <c:dLbl>
              <c:idx val="0"/>
              <c:spPr/>
              <c:txPr>
                <a:bodyPr/>
                <a:lstStyle/>
                <a:p>
                  <a:pPr>
                    <a:defRPr sz="900" b="1">
                      <a:solidFill>
                        <a:sysClr val="windowText" lastClr="000000"/>
                      </a:solidFill>
                    </a:defRPr>
                  </a:pPr>
                  <a:endParaRPr lang="bg-BG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"/>
              <c:layout>
                <c:manualLayout>
                  <c:x val="-5.5555555555556061E-3"/>
                  <c:y val="3.7037037037037035E-2"/>
                </c:manualLayout>
              </c:layout>
              <c:spPr/>
              <c:txPr>
                <a:bodyPr/>
                <a:lstStyle/>
                <a:p>
                  <a:pPr>
                    <a:defRPr sz="900" b="1">
                      <a:solidFill>
                        <a:schemeClr val="bg1"/>
                      </a:solidFill>
                    </a:defRPr>
                  </a:pPr>
                  <a:endParaRPr lang="bg-BG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2"/>
              <c:layout>
                <c:manualLayout>
                  <c:x val="9.1666447944006996E-2"/>
                  <c:y val="-6.018518518518514E-2"/>
                </c:manualLayout>
              </c:layout>
              <c:tx>
                <c:rich>
                  <a:bodyPr/>
                  <a:lstStyle/>
                  <a:p>
                    <a:pPr>
                      <a:defRPr sz="850" b="1">
                        <a:solidFill>
                          <a:sysClr val="windowText" lastClr="000000"/>
                        </a:solidFill>
                      </a:defRPr>
                    </a:pPr>
                    <a:r>
                      <a:rPr lang="bg-BG" sz="850" noProof="0" dirty="0" smtClean="0"/>
                      <a:t>Транспорт, складиране и пощи,</a:t>
                    </a:r>
                    <a:r>
                      <a:rPr lang="bg-BG" sz="850" baseline="0" noProof="0" dirty="0" smtClean="0"/>
                      <a:t> </a:t>
                    </a:r>
                    <a:r>
                      <a:rPr lang="bg-BG" sz="850" noProof="0" dirty="0" smtClean="0"/>
                      <a:t>7</a:t>
                    </a:r>
                    <a:r>
                      <a:rPr lang="ru-RU" sz="850" dirty="0" smtClean="0"/>
                      <a:t>%</a:t>
                    </a:r>
                    <a:endParaRPr lang="ru-RU" sz="850" dirty="0"/>
                  </a:p>
                </c:rich>
              </c:tx>
              <c:spPr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3"/>
              <c:layout>
                <c:manualLayout>
                  <c:x val="0.16388888888888889"/>
                  <c:y val="-9.2592592592592587E-3"/>
                </c:manualLayout>
              </c:layout>
              <c:tx>
                <c:rich>
                  <a:bodyPr/>
                  <a:lstStyle/>
                  <a:p>
                    <a:pPr>
                      <a:defRPr sz="850" b="1">
                        <a:solidFill>
                          <a:sysClr val="windowText" lastClr="000000"/>
                        </a:solidFill>
                      </a:defRPr>
                    </a:pPr>
                    <a:r>
                      <a:rPr lang="bg-BG" sz="850" dirty="0" smtClean="0"/>
                      <a:t>Строителство, 6</a:t>
                    </a:r>
                    <a:r>
                      <a:rPr lang="bg-BG" sz="850" dirty="0"/>
                      <a:t>%</a:t>
                    </a:r>
                  </a:p>
                </c:rich>
              </c:tx>
              <c:spPr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4"/>
              <c:layout>
                <c:manualLayout>
                  <c:x val="0.15555555555555556"/>
                  <c:y val="4.1666302128900469E-2"/>
                </c:manualLayout>
              </c:layout>
              <c:tx>
                <c:rich>
                  <a:bodyPr/>
                  <a:lstStyle/>
                  <a:p>
                    <a:r>
                      <a:rPr lang="bg-BG" sz="800" dirty="0"/>
                      <a:t>Хотелиерство и ресторантьорство
5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5"/>
              <c:layout>
                <c:manualLayout>
                  <c:x val="9.4444225721784777E-2"/>
                  <c:y val="7.8702974628171482E-2"/>
                </c:manualLayout>
              </c:layout>
              <c:tx>
                <c:rich>
                  <a:bodyPr/>
                  <a:lstStyle/>
                  <a:p>
                    <a:pPr>
                      <a:defRPr sz="800" b="1">
                        <a:solidFill>
                          <a:sysClr val="windowText" lastClr="000000"/>
                        </a:solidFill>
                      </a:defRPr>
                    </a:pPr>
                    <a:r>
                      <a:rPr lang="bg-BG" sz="800" dirty="0" smtClean="0"/>
                      <a:t>Други, 2</a:t>
                    </a:r>
                    <a:r>
                      <a:rPr lang="bg-BG" sz="800" dirty="0"/>
                      <a:t>%</a:t>
                    </a:r>
                  </a:p>
                </c:rich>
              </c:tx>
              <c:spPr/>
              <c:showLegendKey val="0"/>
              <c:showVal val="0"/>
              <c:showCatName val="1"/>
              <c:showSerName val="0"/>
              <c:showPercent val="1"/>
              <c:showBubbleSize val="0"/>
            </c:dLbl>
            <c:txPr>
              <a:bodyPr/>
              <a:lstStyle/>
              <a:p>
                <a:pPr>
                  <a:defRPr b="1">
                    <a:solidFill>
                      <a:sysClr val="windowText" lastClr="000000"/>
                    </a:solidFill>
                  </a:defRPr>
                </a:pPr>
                <a:endParaRPr lang="bg-BG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</c:dLbls>
          <c:cat>
            <c:strRef>
              <c:f>Sheet4!$A$56:$A$61</c:f>
              <c:strCache>
                <c:ptCount val="6"/>
                <c:pt idx="0">
                  <c:v>Търговия; Ремонт на автомобили и мотоциклети</c:v>
                </c:pt>
                <c:pt idx="1">
                  <c:v>Преработваща промишленост</c:v>
                </c:pt>
                <c:pt idx="2">
                  <c:v>Транспорт, складиране и пощи</c:v>
                </c:pt>
                <c:pt idx="3">
                  <c:v>Строителство</c:v>
                </c:pt>
                <c:pt idx="4">
                  <c:v>Хотелиерство и ресторантьорство</c:v>
                </c:pt>
                <c:pt idx="5">
                  <c:v>Други</c:v>
                </c:pt>
              </c:strCache>
            </c:strRef>
          </c:cat>
          <c:val>
            <c:numRef>
              <c:f>Sheet4!$B$56:$B$61</c:f>
              <c:numCache>
                <c:formatCode>0</c:formatCode>
                <c:ptCount val="6"/>
                <c:pt idx="0">
                  <c:v>8745418.3390270006</c:v>
                </c:pt>
                <c:pt idx="1">
                  <c:v>6821734.8133539995</c:v>
                </c:pt>
                <c:pt idx="2">
                  <c:v>1303597.3576460001</c:v>
                </c:pt>
                <c:pt idx="3">
                  <c:v>1181800.0542010001</c:v>
                </c:pt>
                <c:pt idx="4">
                  <c:v>846332.75898299995</c:v>
                </c:pt>
                <c:pt idx="5">
                  <c:v>445523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120"/>
        <c:holeSize val="32"/>
      </c:doughnutChart>
    </c:plotArea>
    <c:plotVisOnly val="1"/>
    <c:dispBlanksAs val="gap"/>
    <c:showDLblsOverMax val="0"/>
  </c:chart>
  <c:spPr>
    <a:noFill/>
    <a:ln>
      <a:noFill/>
    </a:ln>
  </c:spPr>
  <c:externalData r:id="rId2">
    <c:autoUpdate val="0"/>
  </c:externalData>
  <c:userShapes r:id="rId3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bg-BG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5!$B$1</c:f>
              <c:strCache>
                <c:ptCount val="1"/>
                <c:pt idx="0">
                  <c:v>Цел</c:v>
                </c:pt>
              </c:strCache>
            </c:strRef>
          </c:tx>
          <c:spPr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c:spPr>
          <c:invertIfNegative val="0"/>
          <c:dLbls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5!$A$2:$A$10</c:f>
              <c:strCache>
                <c:ptCount val="9"/>
                <c:pt idx="0">
                  <c:v>ProCredit Bulgaria </c:v>
                </c:pt>
                <c:pt idx="1">
                  <c:v>Unicredit Bulbank</c:v>
                </c:pt>
                <c:pt idx="2">
                  <c:v>Eurobank Bulgaria AD</c:v>
                </c:pt>
                <c:pt idx="3">
                  <c:v>Raiffeisen Bank</c:v>
                </c:pt>
                <c:pt idx="4">
                  <c:v>UBB </c:v>
                </c:pt>
                <c:pt idx="5">
                  <c:v>CIBANK</c:v>
                </c:pt>
                <c:pt idx="6">
                  <c:v>Piraeus Bank Bulgaria AD </c:v>
                </c:pt>
                <c:pt idx="7">
                  <c:v>DSK </c:v>
                </c:pt>
                <c:pt idx="8">
                  <c:v>Societe Generale Expressbank</c:v>
                </c:pt>
              </c:strCache>
            </c:strRef>
          </c:cat>
          <c:val>
            <c:numRef>
              <c:f>Sheet5!$B$2:$B$10</c:f>
              <c:numCache>
                <c:formatCode>#,##0_);\(#,##0\)</c:formatCode>
                <c:ptCount val="9"/>
                <c:pt idx="0">
                  <c:v>141.37692306</c:v>
                </c:pt>
                <c:pt idx="1">
                  <c:v>100</c:v>
                </c:pt>
                <c:pt idx="2">
                  <c:v>70</c:v>
                </c:pt>
                <c:pt idx="3">
                  <c:v>70</c:v>
                </c:pt>
                <c:pt idx="4">
                  <c:v>65</c:v>
                </c:pt>
                <c:pt idx="5">
                  <c:v>50</c:v>
                </c:pt>
                <c:pt idx="6">
                  <c:v>50</c:v>
                </c:pt>
                <c:pt idx="7">
                  <c:v>40</c:v>
                </c:pt>
                <c:pt idx="8">
                  <c:v>16.7</c:v>
                </c:pt>
              </c:numCache>
            </c:numRef>
          </c:val>
        </c:ser>
        <c:ser>
          <c:idx val="1"/>
          <c:order val="1"/>
          <c:tx>
            <c:strRef>
              <c:f>Sheet5!$C$1</c:f>
              <c:strCache>
                <c:ptCount val="1"/>
                <c:pt idx="0">
                  <c:v>Договорени кредити с МСП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 w="15875">
              <a:solidFill>
                <a:schemeClr val="accent3">
                  <a:lumMod val="50000"/>
                </a:schemeClr>
              </a:solidFill>
            </a:ln>
          </c:spPr>
          <c:invertIfNegative val="0"/>
          <c:dLbls>
            <c:delete val="1"/>
          </c:dLbls>
          <c:cat>
            <c:strRef>
              <c:f>Sheet5!$A$2:$A$10</c:f>
              <c:strCache>
                <c:ptCount val="9"/>
                <c:pt idx="0">
                  <c:v>ProCredit Bulgaria </c:v>
                </c:pt>
                <c:pt idx="1">
                  <c:v>Unicredit Bulbank</c:v>
                </c:pt>
                <c:pt idx="2">
                  <c:v>Eurobank Bulgaria AD</c:v>
                </c:pt>
                <c:pt idx="3">
                  <c:v>Raiffeisen Bank</c:v>
                </c:pt>
                <c:pt idx="4">
                  <c:v>UBB </c:v>
                </c:pt>
                <c:pt idx="5">
                  <c:v>CIBANK</c:v>
                </c:pt>
                <c:pt idx="6">
                  <c:v>Piraeus Bank Bulgaria AD </c:v>
                </c:pt>
                <c:pt idx="7">
                  <c:v>DSK </c:v>
                </c:pt>
                <c:pt idx="8">
                  <c:v>Societe Generale Expressbank</c:v>
                </c:pt>
              </c:strCache>
            </c:strRef>
          </c:cat>
          <c:val>
            <c:numRef>
              <c:f>Sheet5!$C$2:$C$10</c:f>
              <c:numCache>
                <c:formatCode>#,##0_);\(#,##0\)</c:formatCode>
                <c:ptCount val="9"/>
                <c:pt idx="0">
                  <c:v>26.751270999999999</c:v>
                </c:pt>
                <c:pt idx="1">
                  <c:v>23.568258</c:v>
                </c:pt>
                <c:pt idx="2">
                  <c:v>26.812192</c:v>
                </c:pt>
                <c:pt idx="3">
                  <c:v>14.872023</c:v>
                </c:pt>
                <c:pt idx="4">
                  <c:v>30.831695000000014</c:v>
                </c:pt>
                <c:pt idx="5">
                  <c:v>20.369021999999987</c:v>
                </c:pt>
                <c:pt idx="6">
                  <c:v>4.198207</c:v>
                </c:pt>
                <c:pt idx="7">
                  <c:v>5.4679979999999961</c:v>
                </c:pt>
                <c:pt idx="8">
                  <c:v>1.495519999999999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29"/>
        <c:overlap val="100"/>
        <c:axId val="92387200"/>
        <c:axId val="92388736"/>
      </c:barChart>
      <c:catAx>
        <c:axId val="92387200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b="1"/>
            </a:pPr>
            <a:endParaRPr lang="bg-BG"/>
          </a:p>
        </c:txPr>
        <c:crossAx val="92388736"/>
        <c:crosses val="autoZero"/>
        <c:auto val="1"/>
        <c:lblAlgn val="ctr"/>
        <c:lblOffset val="100"/>
        <c:noMultiLvlLbl val="0"/>
      </c:catAx>
      <c:valAx>
        <c:axId val="92388736"/>
        <c:scaling>
          <c:orientation val="minMax"/>
        </c:scaling>
        <c:delete val="0"/>
        <c:axPos val="l"/>
        <c:majorGridlines/>
        <c:numFmt formatCode="#,##0_);\(#,##0\)" sourceLinked="1"/>
        <c:majorTickMark val="none"/>
        <c:minorTickMark val="none"/>
        <c:tickLblPos val="nextTo"/>
        <c:crossAx val="92387200"/>
        <c:crosses val="autoZero"/>
        <c:crossBetween val="between"/>
      </c:valAx>
      <c:spPr>
        <a:noFill/>
      </c:spPr>
    </c:plotArea>
    <c:legend>
      <c:legendPos val="t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bg-BG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bg-BG" sz="1000" b="1" i="0" baseline="0">
                <a:effectLst/>
              </a:rPr>
              <a:t>Портфейл по цел на заема</a:t>
            </a:r>
            <a:endParaRPr lang="bg-BG" sz="1000">
              <a:effectLst/>
            </a:endParaRPr>
          </a:p>
        </c:rich>
      </c:tx>
      <c:layout>
        <c:manualLayout>
          <c:xMode val="edge"/>
          <c:yMode val="edge"/>
          <c:x val="0.20897123764573941"/>
          <c:y val="3.6730977691860102E-2"/>
        </c:manualLayout>
      </c:layout>
      <c:overlay val="0"/>
    </c:title>
    <c:autoTitleDeleted val="0"/>
    <c:view3D>
      <c:rotX val="30"/>
      <c:rotY val="27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explosion val="25"/>
          <c:dPt>
            <c:idx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</c:spPr>
          </c:dPt>
          <c:dPt>
            <c:idx val="1"/>
            <c:bubble3D val="0"/>
            <c:spPr>
              <a:solidFill>
                <a:schemeClr val="accent3">
                  <a:lumMod val="75000"/>
                </a:schemeClr>
              </a:solidFill>
            </c:spPr>
          </c:dPt>
          <c:dLbls>
            <c:dLbl>
              <c:idx val="0"/>
              <c:layout>
                <c:manualLayout>
                  <c:x val="1.3537232178321909E-2"/>
                  <c:y val="0.16191477719046793"/>
                </c:manualLayout>
              </c:layout>
              <c:tx>
                <c:rich>
                  <a:bodyPr/>
                  <a:lstStyle/>
                  <a:p>
                    <a:r>
                      <a:rPr lang="ru-RU" sz="750" dirty="0"/>
                      <a:t>Инвестиции в </a:t>
                    </a:r>
                    <a:r>
                      <a:rPr lang="ru-RU" sz="750" dirty="0" err="1"/>
                      <a:t>материални</a:t>
                    </a:r>
                    <a:r>
                      <a:rPr lang="ru-RU" sz="750" dirty="0"/>
                      <a:t> </a:t>
                    </a:r>
                    <a:r>
                      <a:rPr lang="ru-RU" sz="750" dirty="0" err="1"/>
                      <a:t>активи</a:t>
                    </a:r>
                    <a:r>
                      <a:rPr lang="ru-RU" sz="750" dirty="0"/>
                      <a:t>
22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txPr>
              <a:bodyPr/>
              <a:lstStyle/>
              <a:p>
                <a:pPr>
                  <a:defRPr sz="800"/>
                </a:pPr>
                <a:endParaRPr lang="bg-BG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</c:dLbls>
          <c:cat>
            <c:strRef>
              <c:f>Sheet2!$A$10:$A$11</c:f>
              <c:strCache>
                <c:ptCount val="2"/>
                <c:pt idx="0">
                  <c:v>Инвестиции в материални активи</c:v>
                </c:pt>
                <c:pt idx="1">
                  <c:v>Обоботен капитал</c:v>
                </c:pt>
              </c:strCache>
            </c:strRef>
          </c:cat>
          <c:val>
            <c:numRef>
              <c:f>Sheet2!$B$10:$B$11</c:f>
              <c:numCache>
                <c:formatCode>General</c:formatCode>
                <c:ptCount val="2"/>
                <c:pt idx="0">
                  <c:v>22</c:v>
                </c:pt>
                <c:pt idx="1">
                  <c:v>78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</c:pie3DChart>
    </c:plotArea>
    <c:plotVisOnly val="1"/>
    <c:dispBlanksAs val="zero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bg-BG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bg-BG" sz="1000" dirty="0" smtClean="0"/>
              <a:t>Портфейл по категория</a:t>
            </a:r>
            <a:endParaRPr lang="en-US" sz="1000" dirty="0"/>
          </a:p>
        </c:rich>
      </c:tx>
      <c:layout>
        <c:manualLayout>
          <c:xMode val="edge"/>
          <c:yMode val="edge"/>
          <c:x val="0.17148638776905609"/>
          <c:y val="0.13552641875884835"/>
        </c:manualLayout>
      </c:layout>
      <c:overlay val="0"/>
    </c:title>
    <c:autoTitleDeleted val="0"/>
    <c:plotArea>
      <c:layout/>
      <c:pieChart>
        <c:varyColors val="1"/>
        <c:ser>
          <c:idx val="0"/>
          <c:order val="0"/>
          <c:spPr>
            <a:ln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tx2"/>
              </a:solidFill>
              <a:ln>
                <a:solidFill>
                  <a:schemeClr val="bg1"/>
                </a:solidFill>
              </a:ln>
            </c:spPr>
          </c:dPt>
          <c:dPt>
            <c:idx val="1"/>
            <c:bubble3D val="0"/>
            <c:spPr>
              <a:solidFill>
                <a:srgbClr val="FFC000"/>
              </a:solidFill>
              <a:ln w="25400" cmpd="sng">
                <a:solidFill>
                  <a:schemeClr val="bg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>
                <a:solidFill>
                  <a:schemeClr val="bg1"/>
                </a:solidFill>
              </a:ln>
            </c:spPr>
          </c:dPt>
          <c:dLbls>
            <c:dLbl>
              <c:idx val="2"/>
              <c:spPr/>
              <c:txPr>
                <a:bodyPr/>
                <a:lstStyle/>
                <a:p>
                  <a:pPr>
                    <a:defRPr sz="800">
                      <a:solidFill>
                        <a:schemeClr val="bg1"/>
                      </a:solidFill>
                    </a:defRPr>
                  </a:pPr>
                  <a:endParaRPr lang="bg-BG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</c:dLbl>
            <c:txPr>
              <a:bodyPr/>
              <a:lstStyle/>
              <a:p>
                <a:pPr>
                  <a:defRPr sz="800"/>
                </a:pPr>
                <a:endParaRPr lang="bg-BG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</c:dLbls>
          <c:cat>
            <c:strRef>
              <c:f>Sheet2!$A$3:$A$5</c:f>
              <c:strCache>
                <c:ptCount val="3"/>
                <c:pt idx="0">
                  <c:v>Средни</c:v>
                </c:pt>
                <c:pt idx="1">
                  <c:v>Микро</c:v>
                </c:pt>
                <c:pt idx="2">
                  <c:v>Малки</c:v>
                </c:pt>
              </c:strCache>
            </c:strRef>
          </c:cat>
          <c:val>
            <c:numRef>
              <c:f>Sheet2!$B$3:$B$5</c:f>
              <c:numCache>
                <c:formatCode>0</c:formatCode>
                <c:ptCount val="3"/>
                <c:pt idx="0">
                  <c:v>11.202185792349727</c:v>
                </c:pt>
                <c:pt idx="1">
                  <c:v>52.732240437158474</c:v>
                </c:pt>
                <c:pt idx="2">
                  <c:v>36.065573770491802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72"/>
      </c:pieChart>
    </c:plotArea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bg-BG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bg-BG" sz="1000"/>
              <a:t>Портфейл по цел на заема</a:t>
            </a:r>
          </a:p>
        </c:rich>
      </c:tx>
      <c:layout>
        <c:manualLayout>
          <c:xMode val="edge"/>
          <c:yMode val="edge"/>
          <c:x val="0.20437597149219786"/>
          <c:y val="3.3888927926878191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2938254593175853"/>
          <c:y val="0.20546150481189851"/>
          <c:w val="0.27901574803149609"/>
          <c:h val="0.46502624671916021"/>
        </c:manualLayout>
      </c:layout>
      <c:pieChart>
        <c:varyColors val="1"/>
        <c:ser>
          <c:idx val="0"/>
          <c:order val="0"/>
          <c:spPr>
            <a:ln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FFC000"/>
              </a:solidFill>
              <a:ln>
                <a:solidFill>
                  <a:schemeClr val="bg1"/>
                </a:solidFill>
              </a:ln>
            </c:spPr>
          </c:dPt>
          <c:dLbls>
            <c:dLbl>
              <c:idx val="0"/>
              <c:layout>
                <c:manualLayout>
                  <c:x val="7.6932667727161201E-3"/>
                  <c:y val="0.17306790860841031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"/>
              <c:layout>
                <c:manualLayout>
                  <c:x val="0.14270004467479561"/>
                  <c:y val="-0.15042058739029465"/>
                </c:manualLayout>
              </c:layout>
              <c:spPr/>
              <c:txPr>
                <a:bodyPr/>
                <a:lstStyle/>
                <a:p>
                  <a:pPr>
                    <a:defRPr sz="800">
                      <a:solidFill>
                        <a:schemeClr val="bg1"/>
                      </a:solidFill>
                    </a:defRPr>
                  </a:pPr>
                  <a:endParaRPr lang="bg-BG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</c:dLbl>
            <c:txPr>
              <a:bodyPr/>
              <a:lstStyle/>
              <a:p>
                <a:pPr>
                  <a:defRPr sz="800"/>
                </a:pPr>
                <a:endParaRPr lang="bg-BG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</c:dLbls>
          <c:cat>
            <c:strRef>
              <c:f>Sheet2!$A$10:$A$11</c:f>
              <c:strCache>
                <c:ptCount val="2"/>
                <c:pt idx="0">
                  <c:v>Инвестиции в материални активи</c:v>
                </c:pt>
                <c:pt idx="1">
                  <c:v>Обоботен капитал</c:v>
                </c:pt>
              </c:strCache>
            </c:strRef>
          </c:cat>
          <c:val>
            <c:numRef>
              <c:f>Sheet2!$B$10:$B$11</c:f>
              <c:numCache>
                <c:formatCode>General</c:formatCode>
                <c:ptCount val="2"/>
                <c:pt idx="0">
                  <c:v>22</c:v>
                </c:pt>
                <c:pt idx="1">
                  <c:v>78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bg-BG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bg-BG" sz="1000"/>
              <a:t>Портфейл по сектори,</a:t>
            </a:r>
            <a:r>
              <a:rPr lang="bg-BG" sz="1000" baseline="0"/>
              <a:t> </a:t>
            </a:r>
            <a:r>
              <a:rPr lang="en-US" sz="1000" baseline="0"/>
              <a:t>NACE 1</a:t>
            </a:r>
            <a:endParaRPr lang="bg-BG" sz="1000"/>
          </a:p>
        </c:rich>
      </c:tx>
      <c:layout/>
      <c:overlay val="0"/>
    </c:title>
    <c:autoTitleDeleted val="0"/>
    <c:plotArea>
      <c:layout/>
      <c:pieChart>
        <c:varyColors val="1"/>
        <c:ser>
          <c:idx val="0"/>
          <c:order val="0"/>
          <c:spPr>
            <a:ln>
              <a:solidFill>
                <a:schemeClr val="bg1"/>
              </a:solidFill>
            </a:ln>
          </c:spPr>
          <c:dLbls>
            <c:dLbl>
              <c:idx val="0"/>
              <c:layout>
                <c:manualLayout>
                  <c:x val="0.20801509186351705"/>
                  <c:y val="-2.717774861475649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"/>
              <c:layout>
                <c:manualLayout>
                  <c:x val="0.14196916010498686"/>
                  <c:y val="1.8453266258384369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2"/>
              <c:layout>
                <c:manualLayout>
                  <c:x val="8.4966316710411202E-2"/>
                  <c:y val="-4.0062335958005249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3"/>
              <c:layout>
                <c:manualLayout>
                  <c:x val="0.10861439195100622"/>
                  <c:y val="-0.11073272090988627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4"/>
              <c:layout>
                <c:manualLayout>
                  <c:x val="8.4611767279090117E-2"/>
                  <c:y val="-3.1765820939049283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5"/>
              <c:spPr/>
              <c:txPr>
                <a:bodyPr/>
                <a:lstStyle/>
                <a:p>
                  <a:pPr>
                    <a:defRPr sz="800">
                      <a:solidFill>
                        <a:schemeClr val="bg1"/>
                      </a:solidFill>
                    </a:defRPr>
                  </a:pPr>
                  <a:endParaRPr lang="bg-BG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</c:dLbl>
            <c:txPr>
              <a:bodyPr/>
              <a:lstStyle/>
              <a:p>
                <a:pPr>
                  <a:defRPr sz="800"/>
                </a:pPr>
                <a:endParaRPr lang="bg-BG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</c:dLbls>
          <c:cat>
            <c:strRef>
              <c:f>'[Chart in Microsoft PowerPoint]Sheet3'!$E$3:$E$8</c:f>
              <c:strCache>
                <c:ptCount val="6"/>
                <c:pt idx="0">
                  <c:v>Търговия; Ремонт на автомобили и мотоциклети</c:v>
                </c:pt>
                <c:pt idx="1">
                  <c:v>Преработваща промишленост</c:v>
                </c:pt>
                <c:pt idx="2">
                  <c:v>Транспорт, складиране и пощи</c:v>
                </c:pt>
                <c:pt idx="3">
                  <c:v>Строителство</c:v>
                </c:pt>
                <c:pt idx="4">
                  <c:v>Хотелиерство и ресторантьорство</c:v>
                </c:pt>
                <c:pt idx="5">
                  <c:v>Други</c:v>
                </c:pt>
              </c:strCache>
            </c:strRef>
          </c:cat>
          <c:val>
            <c:numRef>
              <c:f>'[Chart in Microsoft PowerPoint]Sheet3'!$F$3:$F$8</c:f>
              <c:numCache>
                <c:formatCode>0</c:formatCode>
                <c:ptCount val="6"/>
                <c:pt idx="0">
                  <c:v>47.60928961748634</c:v>
                </c:pt>
                <c:pt idx="1">
                  <c:v>16.051912568306012</c:v>
                </c:pt>
                <c:pt idx="2">
                  <c:v>12.226775956284152</c:v>
                </c:pt>
                <c:pt idx="3">
                  <c:v>7.2404371584699447</c:v>
                </c:pt>
                <c:pt idx="4">
                  <c:v>3.6885245901639343</c:v>
                </c:pt>
                <c:pt idx="5">
                  <c:v>13.183060109289618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186"/>
      </c:pieChart>
    </c:plotArea>
    <c:plotVisOnly val="1"/>
    <c:dispBlanksAs val="gap"/>
    <c:showDLblsOverMax val="0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bg-BG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bg-BG" sz="1200" dirty="0" smtClean="0"/>
              <a:t>Северозападен</a:t>
            </a:r>
            <a:endParaRPr lang="en-US" sz="1200" dirty="0"/>
          </a:p>
        </c:rich>
      </c:tx>
      <c:layout>
        <c:manualLayout>
          <c:xMode val="edge"/>
          <c:yMode val="edge"/>
          <c:x val="0.40263188976377956"/>
          <c:y val="0.12532894736842104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29748578302712159"/>
          <c:y val="0.21647733918128656"/>
          <c:w val="0.3800286526684164"/>
          <c:h val="0.63504788011695901"/>
        </c:manualLayout>
      </c:layout>
      <c:doughnutChart>
        <c:varyColors val="1"/>
        <c:ser>
          <c:idx val="0"/>
          <c:order val="0"/>
          <c:spPr>
            <a:ln>
              <a:solidFill>
                <a:schemeClr val="bg1"/>
              </a:solidFill>
            </a:ln>
          </c:spPr>
          <c:explosion val="7"/>
          <c:dPt>
            <c:idx val="0"/>
            <c:bubble3D val="0"/>
            <c:spPr>
              <a:solidFill>
                <a:srgbClr val="FFC000"/>
              </a:solidFill>
              <a:ln>
                <a:solidFill>
                  <a:schemeClr val="bg1"/>
                </a:solidFill>
              </a:ln>
            </c:spPr>
          </c:dPt>
          <c:dLbls>
            <c:dLbl>
              <c:idx val="1"/>
              <c:spPr/>
              <c:txPr>
                <a:bodyPr/>
                <a:lstStyle/>
                <a:p>
                  <a:pPr>
                    <a:defRPr sz="900" b="1">
                      <a:solidFill>
                        <a:schemeClr val="bg1"/>
                      </a:solidFill>
                    </a:defRPr>
                  </a:pPr>
                  <a:endParaRPr lang="bg-BG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3"/>
              <c:spPr/>
              <c:txPr>
                <a:bodyPr/>
                <a:lstStyle/>
                <a:p>
                  <a:pPr>
                    <a:defRPr sz="900" b="1">
                      <a:solidFill>
                        <a:schemeClr val="bg1"/>
                      </a:solidFill>
                    </a:defRPr>
                  </a:pPr>
                  <a:endParaRPr lang="bg-BG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</c:dLbl>
            <c:txPr>
              <a:bodyPr/>
              <a:lstStyle/>
              <a:p>
                <a:pPr>
                  <a:defRPr sz="900" b="1">
                    <a:solidFill>
                      <a:sysClr val="windowText" lastClr="000000"/>
                    </a:solidFill>
                  </a:defRPr>
                </a:pPr>
                <a:endParaRPr lang="bg-BG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</c:dLbls>
          <c:cat>
            <c:strRef>
              <c:f>'[Chart in Microsoft PowerPoint]Sheet4'!$A$13:$A$16</c:f>
              <c:strCache>
                <c:ptCount val="4"/>
                <c:pt idx="0">
                  <c:v>Търговия; Ремонт на автомобили и мотоциклети</c:v>
                </c:pt>
                <c:pt idx="1">
                  <c:v>Преработваща промишленост</c:v>
                </c:pt>
                <c:pt idx="2">
                  <c:v>Транспорт, складиране и пощи</c:v>
                </c:pt>
                <c:pt idx="3">
                  <c:v>Други</c:v>
                </c:pt>
              </c:strCache>
            </c:strRef>
          </c:cat>
          <c:val>
            <c:numRef>
              <c:f>'[Chart in Microsoft PowerPoint]Sheet4'!$B$13:$B$16</c:f>
              <c:numCache>
                <c:formatCode>0</c:formatCode>
                <c:ptCount val="4"/>
                <c:pt idx="0">
                  <c:v>2469113.3687550002</c:v>
                </c:pt>
                <c:pt idx="1">
                  <c:v>2075563.8526880001</c:v>
                </c:pt>
                <c:pt idx="2">
                  <c:v>1044867.3964529999</c:v>
                </c:pt>
                <c:pt idx="3">
                  <c:v>867663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  <c:holeSize val="32"/>
      </c:doughnutChart>
    </c:plotArea>
    <c:plotVisOnly val="1"/>
    <c:dispBlanksAs val="gap"/>
    <c:showDLblsOverMax val="0"/>
  </c:chart>
  <c:spPr>
    <a:noFill/>
    <a:ln>
      <a:noFill/>
    </a:ln>
  </c:spPr>
  <c:externalData r:id="rId1">
    <c:autoUpdate val="0"/>
  </c:externalData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bg-BG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bg-BG" sz="1200" b="1" dirty="0" smtClean="0">
                <a:effectLst/>
              </a:rPr>
              <a:t>Северен централен</a:t>
            </a:r>
            <a:endParaRPr lang="bg-BG" sz="1200" dirty="0">
              <a:effectLst/>
            </a:endParaRPr>
          </a:p>
        </c:rich>
      </c:tx>
      <c:layout>
        <c:manualLayout>
          <c:xMode val="edge"/>
          <c:yMode val="edge"/>
          <c:x val="0.35101377952755908"/>
          <c:y val="6.3960639606396058E-2"/>
        </c:manualLayout>
      </c:layout>
      <c:overlay val="0"/>
    </c:title>
    <c:autoTitleDeleted val="0"/>
    <c:plotArea>
      <c:layout/>
      <c:doughnutChart>
        <c:varyColors val="1"/>
        <c:ser>
          <c:idx val="0"/>
          <c:order val="0"/>
          <c:spPr>
            <a:ln>
              <a:solidFill>
                <a:schemeClr val="bg1"/>
              </a:solidFill>
            </a:ln>
          </c:spPr>
          <c:explosion val="7"/>
          <c:dPt>
            <c:idx val="0"/>
            <c:bubble3D val="0"/>
            <c:spPr>
              <a:solidFill>
                <a:srgbClr val="FFC000"/>
              </a:solidFill>
              <a:ln>
                <a:solidFill>
                  <a:schemeClr val="bg1"/>
                </a:solidFill>
              </a:ln>
            </c:spPr>
          </c:dPt>
          <c:dPt>
            <c:idx val="1"/>
            <c:bubble3D val="0"/>
            <c:spPr>
              <a:solidFill>
                <a:srgbClr val="114FA0"/>
              </a:solidFill>
              <a:ln>
                <a:solidFill>
                  <a:schemeClr val="bg1"/>
                </a:solidFill>
              </a:ln>
            </c:spPr>
          </c:dPt>
          <c:dPt>
            <c:idx val="2"/>
            <c:bubble3D val="0"/>
            <c:spPr>
              <a:solidFill>
                <a:srgbClr val="B6B6B6"/>
              </a:solidFill>
              <a:ln>
                <a:solidFill>
                  <a:schemeClr val="bg1"/>
                </a:solidFill>
              </a:ln>
            </c:spPr>
          </c:dPt>
          <c:dPt>
            <c:idx val="3"/>
            <c:bubble3D val="0"/>
            <c:spPr>
              <a:solidFill>
                <a:sysClr val="windowText" lastClr="000000">
                  <a:lumMod val="65000"/>
                  <a:lumOff val="35000"/>
                </a:sysClr>
              </a:solidFill>
              <a:ln>
                <a:solidFill>
                  <a:schemeClr val="bg1"/>
                </a:solidFill>
              </a:ln>
            </c:spPr>
          </c:dPt>
          <c:dLbls>
            <c:dLbl>
              <c:idx val="0"/>
              <c:layout>
                <c:manualLayout>
                  <c:x val="1.1111111111111112E-2"/>
                  <c:y val="9.8400984009840101E-3"/>
                </c:manualLayout>
              </c:layout>
              <c:spPr/>
              <c:txPr>
                <a:bodyPr/>
                <a:lstStyle/>
                <a:p>
                  <a:pPr>
                    <a:defRPr sz="900" b="1">
                      <a:solidFill>
                        <a:sysClr val="windowText" lastClr="000000"/>
                      </a:solidFill>
                    </a:defRPr>
                  </a:pPr>
                  <a:endParaRPr lang="bg-BG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"/>
              <c:layout>
                <c:manualLayout>
                  <c:x val="-8.0555774278215198E-2"/>
                  <c:y val="1.4486482619151187E-2"/>
                </c:manualLayout>
              </c:layout>
              <c:tx>
                <c:rich>
                  <a:bodyPr/>
                  <a:lstStyle/>
                  <a:p>
                    <a:r>
                      <a:rPr lang="bg-BG" sz="900" dirty="0"/>
                      <a:t>Преработваща промишленост
24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2"/>
              <c:layout>
                <c:manualLayout>
                  <c:x val="-8.8889107611548557E-2"/>
                  <c:y val="-9.3225247213102047E-2"/>
                </c:manualLayout>
              </c:layout>
              <c:tx>
                <c:rich>
                  <a:bodyPr/>
                  <a:lstStyle/>
                  <a:p>
                    <a:r>
                      <a:rPr lang="ru-RU" sz="900" dirty="0"/>
                      <a:t>Транспорт, складиране и пощи
8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3"/>
              <c:layout>
                <c:manualLayout>
                  <c:x val="-8.3333333333333332E-3"/>
                  <c:y val="-2.3131204540391862E-2"/>
                </c:manualLayout>
              </c:layout>
              <c:spPr/>
              <c:txPr>
                <a:bodyPr/>
                <a:lstStyle/>
                <a:p>
                  <a:pPr>
                    <a:defRPr sz="900" b="1">
                      <a:solidFill>
                        <a:schemeClr val="bg1"/>
                      </a:solidFill>
                    </a:defRPr>
                  </a:pPr>
                  <a:endParaRPr lang="bg-BG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</c:dLbl>
            <c:txPr>
              <a:bodyPr/>
              <a:lstStyle/>
              <a:p>
                <a:pPr>
                  <a:defRPr b="1">
                    <a:solidFill>
                      <a:sysClr val="windowText" lastClr="000000"/>
                    </a:solidFill>
                  </a:defRPr>
                </a:pPr>
                <a:endParaRPr lang="bg-BG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</c:dLbls>
          <c:cat>
            <c:strRef>
              <c:f>'[Chart in Microsoft PowerPoint]Sheet4'!$A$20:$A$23</c:f>
              <c:strCache>
                <c:ptCount val="4"/>
                <c:pt idx="0">
                  <c:v>Търговия; Ремонт на автомобили и мотоциклети</c:v>
                </c:pt>
                <c:pt idx="1">
                  <c:v>Преработваща промишленост</c:v>
                </c:pt>
                <c:pt idx="2">
                  <c:v>Транспорт, складиране и пощи</c:v>
                </c:pt>
                <c:pt idx="3">
                  <c:v>Други</c:v>
                </c:pt>
              </c:strCache>
            </c:strRef>
          </c:cat>
          <c:val>
            <c:numRef>
              <c:f>'[Chart in Microsoft PowerPoint]Sheet4'!$B$20:$B$23</c:f>
              <c:numCache>
                <c:formatCode>0</c:formatCode>
                <c:ptCount val="4"/>
                <c:pt idx="0">
                  <c:v>6605558.2540419986</c:v>
                </c:pt>
                <c:pt idx="1">
                  <c:v>2782640.2774259998</c:v>
                </c:pt>
                <c:pt idx="2">
                  <c:v>904647.87328200007</c:v>
                </c:pt>
                <c:pt idx="3">
                  <c:v>1093031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360"/>
        <c:holeSize val="32"/>
      </c:doughnutChart>
    </c:plotArea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bg-BG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bg-BG" sz="1200" dirty="0" smtClean="0"/>
              <a:t>Североизточен</a:t>
            </a:r>
            <a:endParaRPr lang="en-US" sz="1200" dirty="0"/>
          </a:p>
        </c:rich>
      </c:tx>
      <c:layout>
        <c:manualLayout>
          <c:xMode val="edge"/>
          <c:yMode val="edge"/>
          <c:x val="0.41038188976377959"/>
          <c:y val="0.10513117283950615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22237642169728783"/>
          <c:y val="0.21523225308641974"/>
          <c:w val="0.37746959755030624"/>
          <c:h val="0.66581442901234567"/>
        </c:manualLayout>
      </c:layout>
      <c:doughnutChart>
        <c:varyColors val="1"/>
        <c:ser>
          <c:idx val="0"/>
          <c:order val="0"/>
          <c:spPr>
            <a:ln>
              <a:solidFill>
                <a:schemeClr val="bg1"/>
              </a:solidFill>
            </a:ln>
          </c:spPr>
          <c:explosion val="6"/>
          <c:dPt>
            <c:idx val="0"/>
            <c:bubble3D val="0"/>
            <c:spPr>
              <a:solidFill>
                <a:srgbClr val="FFC000"/>
              </a:solidFill>
              <a:ln>
                <a:solidFill>
                  <a:schemeClr val="bg1"/>
                </a:solidFill>
              </a:ln>
            </c:spPr>
          </c:dPt>
          <c:dPt>
            <c:idx val="1"/>
            <c:bubble3D val="0"/>
            <c:spPr>
              <a:solidFill>
                <a:srgbClr val="B6B6B6">
                  <a:lumMod val="50000"/>
                </a:srgbClr>
              </a:solidFill>
              <a:ln>
                <a:solidFill>
                  <a:schemeClr val="bg1"/>
                </a:solidFill>
              </a:ln>
            </c:spPr>
          </c:dPt>
          <c:dPt>
            <c:idx val="2"/>
            <c:bubble3D val="0"/>
            <c:spPr>
              <a:solidFill>
                <a:srgbClr val="114FA0"/>
              </a:solidFill>
              <a:ln>
                <a:solidFill>
                  <a:schemeClr val="bg1"/>
                </a:solidFill>
              </a:ln>
            </c:spPr>
          </c:dPt>
          <c:dPt>
            <c:idx val="4"/>
            <c:bubble3D val="0"/>
            <c:spPr>
              <a:solidFill>
                <a:srgbClr val="009999"/>
              </a:solidFill>
              <a:ln>
                <a:solidFill>
                  <a:schemeClr val="bg1"/>
                </a:solidFill>
              </a:ln>
            </c:spPr>
          </c:dPt>
          <c:dLbls>
            <c:dLbl>
              <c:idx val="0"/>
              <c:layout>
                <c:manualLayout>
                  <c:x val="-2.2222440944881891E-2"/>
                  <c:y val="-8.3295138888888884E-2"/>
                </c:manualLayout>
              </c:layout>
              <c:tx>
                <c:rich>
                  <a:bodyPr/>
                  <a:lstStyle/>
                  <a:p>
                    <a:pPr>
                      <a:defRPr sz="900" b="1">
                        <a:solidFill>
                          <a:sysClr val="windowText" lastClr="000000"/>
                        </a:solidFill>
                      </a:defRPr>
                    </a:pPr>
                    <a:r>
                      <a:rPr lang="bg-BG" sz="900" noProof="0" dirty="0" smtClean="0"/>
                      <a:t>Търговия; Ремонт на автомобили и мотоциклети
68%</a:t>
                    </a:r>
                    <a:endParaRPr lang="bg-BG" sz="900" noProof="0" dirty="0"/>
                  </a:p>
                </c:rich>
              </c:tx>
              <c:spPr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"/>
              <c:spPr/>
              <c:txPr>
                <a:bodyPr/>
                <a:lstStyle/>
                <a:p>
                  <a:pPr>
                    <a:defRPr sz="900" b="1">
                      <a:solidFill>
                        <a:schemeClr val="bg1"/>
                      </a:solidFill>
                    </a:defRPr>
                  </a:pPr>
                  <a:endParaRPr lang="bg-BG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2"/>
              <c:layout>
                <c:manualLayout>
                  <c:x val="0.125"/>
                  <c:y val="-6.8017746913580243E-2"/>
                </c:manualLayout>
              </c:layout>
              <c:tx>
                <c:rich>
                  <a:bodyPr/>
                  <a:lstStyle/>
                  <a:p>
                    <a:r>
                      <a:rPr lang="bg-BG" dirty="0"/>
                      <a:t>Преработваща </a:t>
                    </a:r>
                    <a:r>
                      <a:rPr lang="bg-BG" dirty="0" smtClean="0"/>
                      <a:t>промишленост, 6</a:t>
                    </a:r>
                    <a:r>
                      <a:rPr lang="bg-BG" dirty="0"/>
                      <a:t>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3"/>
              <c:layout>
                <c:manualLayout>
                  <c:x val="0.1388888888888889"/>
                  <c:y val="-8.9826637212141055E-17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4"/>
              <c:layout>
                <c:manualLayout>
                  <c:x val="0.11944444444444445"/>
                  <c:y val="4.841820987654321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5"/>
              <c:layout>
                <c:manualLayout>
                  <c:x val="0.12777777777777768"/>
                  <c:y val="0.10582561728395053"/>
                </c:manualLayout>
              </c:layout>
              <c:tx>
                <c:rich>
                  <a:bodyPr/>
                  <a:lstStyle/>
                  <a:p>
                    <a:r>
                      <a:rPr lang="bg-BG" sz="800" dirty="0"/>
                      <a:t>Административни </a:t>
                    </a:r>
                    <a:r>
                      <a:rPr lang="bg-BG" sz="800" dirty="0" smtClean="0"/>
                      <a:t>дейности, 3</a:t>
                    </a:r>
                    <a:r>
                      <a:rPr lang="bg-BG" sz="800" dirty="0"/>
                      <a:t>%</a:t>
                    </a:r>
                    <a:endParaRPr lang="bg-BG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txPr>
              <a:bodyPr/>
              <a:lstStyle/>
              <a:p>
                <a:pPr>
                  <a:defRPr sz="800" b="1">
                    <a:solidFill>
                      <a:sysClr val="windowText" lastClr="000000"/>
                    </a:solidFill>
                  </a:defRPr>
                </a:pPr>
                <a:endParaRPr lang="bg-BG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</c:dLbls>
          <c:cat>
            <c:strRef>
              <c:f>'[Chart in Microsoft PowerPoint]Sheet4'!$A$27:$A$32</c:f>
              <c:strCache>
                <c:ptCount val="6"/>
                <c:pt idx="0">
                  <c:v>Търговия; Ремонт на автомобили и мотоциклети</c:v>
                </c:pt>
                <c:pt idx="1">
                  <c:v>Други</c:v>
                </c:pt>
                <c:pt idx="2">
                  <c:v>Преработваща промишленост</c:v>
                </c:pt>
                <c:pt idx="3">
                  <c:v>Хотелиерство и ресторантьорство</c:v>
                </c:pt>
                <c:pt idx="4">
                  <c:v>Строителство</c:v>
                </c:pt>
                <c:pt idx="5">
                  <c:v>Административни и спомагателни дейности</c:v>
                </c:pt>
              </c:strCache>
            </c:strRef>
          </c:cat>
          <c:val>
            <c:numRef>
              <c:f>'[Chart in Microsoft PowerPoint]Sheet4'!$B$27:$B$32</c:f>
              <c:numCache>
                <c:formatCode>0</c:formatCode>
                <c:ptCount val="6"/>
                <c:pt idx="0">
                  <c:v>10814653.523064991</c:v>
                </c:pt>
                <c:pt idx="1">
                  <c:v>1834752</c:v>
                </c:pt>
                <c:pt idx="2">
                  <c:v>990955.25328400009</c:v>
                </c:pt>
                <c:pt idx="3">
                  <c:v>926693.7821800001</c:v>
                </c:pt>
                <c:pt idx="4">
                  <c:v>816173.18478800007</c:v>
                </c:pt>
                <c:pt idx="5">
                  <c:v>476395.69901299995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127"/>
        <c:holeSize val="32"/>
      </c:doughnutChart>
    </c:plotArea>
    <c:plotVisOnly val="1"/>
    <c:dispBlanksAs val="gap"/>
    <c:showDLblsOverMax val="0"/>
  </c:chart>
  <c:spPr>
    <a:noFill/>
    <a:ln>
      <a:noFill/>
    </a:ln>
  </c:spPr>
  <c:externalData r:id="rId2">
    <c:autoUpdate val="0"/>
  </c:externalData>
  <c:userShapes r:id="rId3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bg-BG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bg-BG" sz="1200" dirty="0" smtClean="0"/>
              <a:t>Югозападен</a:t>
            </a:r>
            <a:endParaRPr lang="en-US" sz="1200" dirty="0"/>
          </a:p>
        </c:rich>
      </c:tx>
      <c:layout>
        <c:manualLayout>
          <c:xMode val="edge"/>
          <c:yMode val="edge"/>
          <c:x val="0.38356933508311464"/>
          <c:y val="8.7962962962962965E-2"/>
        </c:manualLayout>
      </c:layout>
      <c:overlay val="0"/>
    </c:title>
    <c:autoTitleDeleted val="0"/>
    <c:plotArea>
      <c:layout/>
      <c:doughnutChart>
        <c:varyColors val="1"/>
        <c:ser>
          <c:idx val="0"/>
          <c:order val="0"/>
          <c:spPr>
            <a:ln>
              <a:solidFill>
                <a:schemeClr val="bg1"/>
              </a:solidFill>
            </a:ln>
          </c:spPr>
          <c:explosion val="7"/>
          <c:dPt>
            <c:idx val="0"/>
            <c:bubble3D val="0"/>
            <c:spPr>
              <a:solidFill>
                <a:srgbClr val="FFC000"/>
              </a:solidFill>
              <a:ln>
                <a:solidFill>
                  <a:schemeClr val="bg1"/>
                </a:solidFill>
              </a:ln>
            </c:spPr>
          </c:dPt>
          <c:dPt>
            <c:idx val="1"/>
            <c:bubble3D val="0"/>
            <c:spPr>
              <a:solidFill>
                <a:srgbClr val="114FA0"/>
              </a:solidFill>
              <a:ln>
                <a:solidFill>
                  <a:schemeClr val="bg1"/>
                </a:solidFill>
              </a:ln>
            </c:spPr>
          </c:dPt>
          <c:dPt>
            <c:idx val="2"/>
            <c:bubble3D val="0"/>
            <c:spPr>
              <a:solidFill>
                <a:sysClr val="windowText" lastClr="000000">
                  <a:lumMod val="75000"/>
                  <a:lumOff val="25000"/>
                </a:sysClr>
              </a:solidFill>
              <a:ln>
                <a:solidFill>
                  <a:schemeClr val="bg1"/>
                </a:solidFill>
              </a:ln>
            </c:spPr>
          </c:dPt>
          <c:dPt>
            <c:idx val="3"/>
            <c:bubble3D val="0"/>
            <c:spPr>
              <a:solidFill>
                <a:srgbClr val="009999"/>
              </a:solidFill>
              <a:ln>
                <a:solidFill>
                  <a:schemeClr val="bg1"/>
                </a:solidFill>
              </a:ln>
            </c:spPr>
          </c:dPt>
          <c:dPt>
            <c:idx val="5"/>
            <c:bubble3D val="0"/>
            <c:spPr>
              <a:solidFill>
                <a:sysClr val="window" lastClr="FFFFFF">
                  <a:lumMod val="65000"/>
                </a:sysClr>
              </a:solidFill>
              <a:ln>
                <a:solidFill>
                  <a:schemeClr val="bg1"/>
                </a:solidFill>
              </a:ln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pPr>
                      <a:defRPr sz="900" b="1">
                        <a:solidFill>
                          <a:sysClr val="windowText" lastClr="000000"/>
                        </a:solidFill>
                      </a:defRPr>
                    </a:pPr>
                    <a:r>
                      <a:rPr lang="bg-BG" sz="900" noProof="0" dirty="0" smtClean="0"/>
                      <a:t>Търговия; Ремонт на автомобили и мотоциклети
45%</a:t>
                    </a:r>
                    <a:endParaRPr lang="bg-BG" sz="900" noProof="0" dirty="0"/>
                  </a:p>
                </c:rich>
              </c:tx>
              <c:spPr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"/>
              <c:layout>
                <c:manualLayout>
                  <c:x val="8.3331146106736653E-3"/>
                  <c:y val="2.4595363079614623E-3"/>
                </c:manualLayout>
              </c:layout>
              <c:tx>
                <c:rich>
                  <a:bodyPr/>
                  <a:lstStyle/>
                  <a:p>
                    <a:pPr>
                      <a:defRPr sz="800" b="1">
                        <a:solidFill>
                          <a:schemeClr val="tx1"/>
                        </a:solidFill>
                      </a:defRPr>
                    </a:pPr>
                    <a:r>
                      <a:rPr lang="bg-BG" sz="700" dirty="0">
                        <a:solidFill>
                          <a:schemeClr val="bg1"/>
                        </a:solidFill>
                      </a:rPr>
                      <a:t>Преработваща промишленост
</a:t>
                    </a:r>
                    <a:r>
                      <a:rPr lang="bg-BG" sz="800" dirty="0">
                        <a:solidFill>
                          <a:schemeClr val="bg1"/>
                        </a:solidFill>
                      </a:rPr>
                      <a:t>14%</a:t>
                    </a:r>
                  </a:p>
                </c:rich>
              </c:tx>
              <c:spPr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2"/>
              <c:spPr/>
              <c:txPr>
                <a:bodyPr/>
                <a:lstStyle/>
                <a:p>
                  <a:pPr>
                    <a:defRPr sz="900" b="1">
                      <a:solidFill>
                        <a:schemeClr val="bg1"/>
                      </a:solidFill>
                    </a:defRPr>
                  </a:pPr>
                  <a:endParaRPr lang="bg-BG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3"/>
              <c:layout>
                <c:manualLayout>
                  <c:x val="4.4444444444444342E-2"/>
                  <c:y val="-0.13425925925925927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4"/>
              <c:layout>
                <c:manualLayout>
                  <c:x val="0.14999978127734034"/>
                  <c:y val="-8.3333333333333329E-2"/>
                </c:manualLayout>
              </c:layout>
              <c:tx>
                <c:rich>
                  <a:bodyPr/>
                  <a:lstStyle/>
                  <a:p>
                    <a:r>
                      <a:rPr lang="bg-BG" noProof="0" dirty="0" smtClean="0"/>
                      <a:t>Информационни, творчески продукти и далекосъобщения
9%</a:t>
                    </a:r>
                    <a:endParaRPr lang="bg-BG" noProof="0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5"/>
              <c:layout>
                <c:manualLayout>
                  <c:x val="0.13333311461067365"/>
                  <c:y val="8.0562846310877814E-3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Транспорт</a:t>
                    </a:r>
                    <a:r>
                      <a:rPr lang="ru-RU" dirty="0"/>
                      <a:t>, складиране и </a:t>
                    </a:r>
                    <a:r>
                      <a:rPr lang="bg-BG" noProof="0" dirty="0" smtClean="0"/>
                      <a:t>пощи</a:t>
                    </a:r>
                    <a:r>
                      <a:rPr lang="ru-RU" dirty="0" smtClean="0"/>
                      <a:t>, 5</a:t>
                    </a:r>
                    <a:r>
                      <a:rPr lang="ru-RU" dirty="0"/>
                      <a:t>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6"/>
              <c:layout>
                <c:manualLayout>
                  <c:x val="0.14444422572178478"/>
                  <c:y val="0.10648075240594926"/>
                </c:manualLayout>
              </c:layout>
              <c:tx>
                <c:rich>
                  <a:bodyPr rot="0" anchor="t" anchorCtr="0"/>
                  <a:lstStyle/>
                  <a:p>
                    <a:pPr>
                      <a:defRPr sz="850" b="1">
                        <a:solidFill>
                          <a:sysClr val="windowText" lastClr="000000"/>
                        </a:solidFill>
                      </a:defRPr>
                    </a:pPr>
                    <a:r>
                      <a:rPr lang="bg-BG" sz="850" noProof="1" smtClean="0"/>
                      <a:t>Проф.дейности и научни</a:t>
                    </a:r>
                    <a:r>
                      <a:rPr lang="bg-BG" sz="850" baseline="0" noProof="1" smtClean="0"/>
                      <a:t> </a:t>
                    </a:r>
                    <a:r>
                      <a:rPr lang="bg-BG" sz="850" noProof="1" smtClean="0"/>
                      <a:t>изследвания, 4</a:t>
                    </a:r>
                    <a:r>
                      <a:rPr lang="ru-RU" sz="850" dirty="0" smtClean="0"/>
                      <a:t>%</a:t>
                    </a:r>
                    <a:endParaRPr lang="ru-RU" sz="850" dirty="0"/>
                  </a:p>
                </c:rich>
              </c:tx>
              <c:spPr/>
              <c:showLegendKey val="0"/>
              <c:showVal val="0"/>
              <c:showCatName val="1"/>
              <c:showSerName val="0"/>
              <c:showPercent val="1"/>
              <c:showBubbleSize val="0"/>
            </c:dLbl>
            <c:txPr>
              <a:bodyPr/>
              <a:lstStyle/>
              <a:p>
                <a:pPr>
                  <a:defRPr sz="800" b="1">
                    <a:solidFill>
                      <a:sysClr val="windowText" lastClr="000000"/>
                    </a:solidFill>
                  </a:defRPr>
                </a:pPr>
                <a:endParaRPr lang="bg-BG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</c:dLbls>
          <c:cat>
            <c:strRef>
              <c:f>Sheet4!$A$36:$A$42</c:f>
              <c:strCache>
                <c:ptCount val="7"/>
                <c:pt idx="0">
                  <c:v>Търговия; Ремонт на автомобили и мотоциклети</c:v>
                </c:pt>
                <c:pt idx="1">
                  <c:v>Преработваща промишленост</c:v>
                </c:pt>
                <c:pt idx="2">
                  <c:v>Други</c:v>
                </c:pt>
                <c:pt idx="3">
                  <c:v>Строителство</c:v>
                </c:pt>
                <c:pt idx="4">
                  <c:v>Информация и творчески продукти и далекосъобщения</c:v>
                </c:pt>
                <c:pt idx="5">
                  <c:v>Транспорт, складиране и пощи</c:v>
                </c:pt>
                <c:pt idx="6">
                  <c:v>Професионални дейности и научни изследвания</c:v>
                </c:pt>
              </c:strCache>
            </c:strRef>
          </c:cat>
          <c:val>
            <c:numRef>
              <c:f>Sheet4!$B$36:$B$42</c:f>
              <c:numCache>
                <c:formatCode>0</c:formatCode>
                <c:ptCount val="7"/>
                <c:pt idx="0">
                  <c:v>32624798.851623029</c:v>
                </c:pt>
                <c:pt idx="1">
                  <c:v>10387701.600553002</c:v>
                </c:pt>
                <c:pt idx="2">
                  <c:v>8737146</c:v>
                </c:pt>
                <c:pt idx="3">
                  <c:v>8178262.1802550023</c:v>
                </c:pt>
                <c:pt idx="4">
                  <c:v>6753607.417049001</c:v>
                </c:pt>
                <c:pt idx="5">
                  <c:v>3545096.0564130014</c:v>
                </c:pt>
                <c:pt idx="6">
                  <c:v>2436965.5931310006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114"/>
        <c:holeSize val="32"/>
      </c:doughnutChart>
    </c:plotArea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363743B-EA68-44EF-87D7-360AC9F86EEA}" type="doc">
      <dgm:prSet loTypeId="urn:microsoft.com/office/officeart/2005/8/layout/lProcess2" loCatId="list" qsTypeId="urn:microsoft.com/office/officeart/2005/8/quickstyle/3d4" qsCatId="3D" csTypeId="urn:microsoft.com/office/officeart/2005/8/colors/colorful4" csCatId="colorful" phldr="1"/>
      <dgm:spPr/>
      <dgm:t>
        <a:bodyPr/>
        <a:lstStyle/>
        <a:p>
          <a:endParaRPr lang="bg-BG"/>
        </a:p>
      </dgm:t>
    </dgm:pt>
    <dgm:pt modelId="{4478FB66-F42D-4884-998E-747BC0EC9C2C}">
      <dgm:prSet phldrT="[Text]" custT="1"/>
      <dgm:spPr>
        <a:solidFill>
          <a:schemeClr val="accent2">
            <a:lumMod val="40000"/>
            <a:lumOff val="60000"/>
            <a:alpha val="60000"/>
          </a:schemeClr>
        </a:solidFill>
        <a:effectLst/>
        <a:scene3d>
          <a:camera prst="orthographicFront"/>
          <a:lightRig rig="glow" dir="t"/>
        </a:scene3d>
        <a:sp3d prstMaterial="metal">
          <a:bevelT w="165100" prst="coolSlant"/>
        </a:sp3d>
      </dgm:spPr>
      <dgm:t>
        <a:bodyPr anchor="t"/>
        <a:lstStyle/>
        <a:p>
          <a:r>
            <a:rPr lang="ru-RU" sz="1400" b="1" dirty="0" smtClean="0">
              <a:solidFill>
                <a:srgbClr val="002060"/>
              </a:solidFill>
            </a:rPr>
            <a:t>Приоритетна ос 2: </a:t>
          </a:r>
          <a:br>
            <a:rPr lang="ru-RU" sz="1400" b="1" dirty="0" smtClean="0">
              <a:solidFill>
                <a:srgbClr val="002060"/>
              </a:solidFill>
            </a:rPr>
          </a:br>
          <a:r>
            <a:rPr lang="ru-RU" sz="1400" b="1" dirty="0" smtClean="0">
              <a:solidFill>
                <a:srgbClr val="002060"/>
              </a:solidFill>
            </a:rPr>
            <a:t>Предприемачество и капацитет за растеж на МСП </a:t>
          </a:r>
          <a:endParaRPr lang="bg-BG" sz="1400" b="1" dirty="0">
            <a:solidFill>
              <a:srgbClr val="002060"/>
            </a:solidFill>
          </a:endParaRPr>
        </a:p>
      </dgm:t>
    </dgm:pt>
    <dgm:pt modelId="{5B761C31-3399-4366-9FB3-D31952D565FC}" type="parTrans" cxnId="{04EAAE02-DED4-4C16-91EE-FCD67A918B20}">
      <dgm:prSet/>
      <dgm:spPr/>
      <dgm:t>
        <a:bodyPr/>
        <a:lstStyle/>
        <a:p>
          <a:endParaRPr lang="bg-BG"/>
        </a:p>
      </dgm:t>
    </dgm:pt>
    <dgm:pt modelId="{3DAA543C-E0E4-4E3E-AECD-10134DF1D4F9}" type="sibTrans" cxnId="{04EAAE02-DED4-4C16-91EE-FCD67A918B20}">
      <dgm:prSet/>
      <dgm:spPr/>
      <dgm:t>
        <a:bodyPr/>
        <a:lstStyle/>
        <a:p>
          <a:endParaRPr lang="bg-BG"/>
        </a:p>
      </dgm:t>
    </dgm:pt>
    <dgm:pt modelId="{0E3AB651-9649-4DA8-9E3E-40B5FCEFBCF0}">
      <dgm:prSet phldrT="[Text]" custT="1"/>
      <dgm:spPr>
        <a:solidFill>
          <a:schemeClr val="accent6">
            <a:lumMod val="40000"/>
            <a:lumOff val="60000"/>
            <a:alpha val="98000"/>
          </a:schemeClr>
        </a:solidFill>
        <a:effectLst/>
        <a:scene3d>
          <a:camera prst="orthographicFront"/>
          <a:lightRig rig="glow" dir="t"/>
        </a:scene3d>
        <a:sp3d>
          <a:bevelT w="165100" prst="coolSlant"/>
        </a:sp3d>
      </dgm:spPr>
      <dgm:t>
        <a:bodyPr anchor="t"/>
        <a:lstStyle/>
        <a:p>
          <a:r>
            <a:rPr lang="ru-RU" sz="1400" b="1" dirty="0" smtClean="0">
              <a:solidFill>
                <a:schemeClr val="accent6">
                  <a:lumMod val="50000"/>
                </a:schemeClr>
              </a:solidFill>
            </a:rPr>
            <a:t>Приоритетна ос 3: </a:t>
          </a:r>
          <a:br>
            <a:rPr lang="ru-RU" sz="1400" b="1" dirty="0" smtClean="0">
              <a:solidFill>
                <a:schemeClr val="accent6">
                  <a:lumMod val="50000"/>
                </a:schemeClr>
              </a:solidFill>
            </a:rPr>
          </a:br>
          <a:r>
            <a:rPr lang="ru-RU" sz="1400" b="1" dirty="0" smtClean="0">
              <a:solidFill>
                <a:schemeClr val="accent6">
                  <a:lumMod val="50000"/>
                </a:schemeClr>
              </a:solidFill>
            </a:rPr>
            <a:t>Енергийна и ресурсна </a:t>
          </a:r>
          <a:r>
            <a:rPr lang="bg-BG" sz="1400" b="1" noProof="0" dirty="0" smtClean="0">
              <a:solidFill>
                <a:schemeClr val="accent6">
                  <a:lumMod val="50000"/>
                </a:schemeClr>
              </a:solidFill>
            </a:rPr>
            <a:t>ефективност</a:t>
          </a:r>
          <a:endParaRPr lang="bg-BG" sz="1400" b="1" noProof="0" dirty="0">
            <a:solidFill>
              <a:schemeClr val="accent6">
                <a:lumMod val="50000"/>
              </a:schemeClr>
            </a:solidFill>
          </a:endParaRPr>
        </a:p>
      </dgm:t>
    </dgm:pt>
    <dgm:pt modelId="{80C2337D-4736-4102-966E-446F2338B4E7}" type="parTrans" cxnId="{E3791008-6254-4271-9457-1B17697B33A3}">
      <dgm:prSet/>
      <dgm:spPr/>
      <dgm:t>
        <a:bodyPr/>
        <a:lstStyle/>
        <a:p>
          <a:endParaRPr lang="bg-BG"/>
        </a:p>
      </dgm:t>
    </dgm:pt>
    <dgm:pt modelId="{A5579BEC-F74B-4179-A195-4983CD41105B}" type="sibTrans" cxnId="{E3791008-6254-4271-9457-1B17697B33A3}">
      <dgm:prSet/>
      <dgm:spPr/>
      <dgm:t>
        <a:bodyPr/>
        <a:lstStyle/>
        <a:p>
          <a:endParaRPr lang="bg-BG"/>
        </a:p>
      </dgm:t>
    </dgm:pt>
    <dgm:pt modelId="{F9FA4259-2013-4683-A7FB-AEECA0B896E9}">
      <dgm:prSet custT="1"/>
      <dgm:spPr>
        <a:ln>
          <a:noFill/>
        </a:ln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orthographicFront">
            <a:rot lat="0" lon="0" rev="0"/>
          </a:camera>
          <a:lightRig rig="glow" dir="t"/>
        </a:scene3d>
        <a:sp3d>
          <a:bevelT w="165100" prst="coolSlant"/>
        </a:sp3d>
      </dgm:spPr>
      <dgm:t>
        <a:bodyPr tIns="0" bIns="360000"/>
        <a:lstStyle/>
        <a:p>
          <a:r>
            <a:rPr lang="ru-RU" sz="1400" b="1" dirty="0" smtClean="0">
              <a:solidFill>
                <a:schemeClr val="accent4">
                  <a:lumMod val="50000"/>
                </a:schemeClr>
              </a:solidFill>
              <a:effectLst/>
            </a:rPr>
            <a:t>Приоритетна ос 1: </a:t>
          </a:r>
          <a:br>
            <a:rPr lang="ru-RU" sz="1400" b="1" dirty="0" smtClean="0">
              <a:solidFill>
                <a:schemeClr val="accent4">
                  <a:lumMod val="50000"/>
                </a:schemeClr>
              </a:solidFill>
              <a:effectLst/>
            </a:rPr>
          </a:br>
          <a:r>
            <a:rPr lang="ru-RU" sz="1400" b="1" dirty="0" smtClean="0">
              <a:solidFill>
                <a:schemeClr val="accent4">
                  <a:lumMod val="50000"/>
                </a:schemeClr>
              </a:solidFill>
              <a:effectLst/>
            </a:rPr>
            <a:t>Технологично развитие и иновации</a:t>
          </a:r>
          <a:endParaRPr lang="bg-BG" sz="1400" b="1" dirty="0">
            <a:solidFill>
              <a:schemeClr val="accent4">
                <a:lumMod val="50000"/>
              </a:schemeClr>
            </a:solidFill>
            <a:effectLst/>
          </a:endParaRPr>
        </a:p>
      </dgm:t>
    </dgm:pt>
    <dgm:pt modelId="{E8EB82A7-D2B5-4922-9328-36B46B96D755}" type="parTrans" cxnId="{3857793C-52D0-4739-A6B3-967E0CC040ED}">
      <dgm:prSet/>
      <dgm:spPr/>
      <dgm:t>
        <a:bodyPr/>
        <a:lstStyle/>
        <a:p>
          <a:endParaRPr lang="bg-BG"/>
        </a:p>
      </dgm:t>
    </dgm:pt>
    <dgm:pt modelId="{C7828996-BC21-44DB-8E4F-B86A77300E91}" type="sibTrans" cxnId="{3857793C-52D0-4739-A6B3-967E0CC040ED}">
      <dgm:prSet/>
      <dgm:spPr/>
      <dgm:t>
        <a:bodyPr/>
        <a:lstStyle/>
        <a:p>
          <a:endParaRPr lang="bg-BG"/>
        </a:p>
      </dgm:t>
    </dgm:pt>
    <dgm:pt modelId="{17BF6DBC-DB1C-48F7-90EB-F4224FA92913}">
      <dgm:prSet custT="1"/>
      <dgm:spPr>
        <a:gradFill rotWithShape="0">
          <a:gsLst>
            <a:gs pos="0">
              <a:schemeClr val="accent4">
                <a:lumMod val="60000"/>
                <a:lumOff val="40000"/>
              </a:schemeClr>
            </a:gs>
            <a:gs pos="64999">
              <a:srgbClr val="F0EBD5"/>
            </a:gs>
            <a:gs pos="100000">
              <a:srgbClr val="D1C39F"/>
            </a:gs>
          </a:gsLst>
          <a:lin ang="2700000" scaled="0"/>
        </a:gradFill>
        <a:ln cmpd="dbl">
          <a:gradFill flip="none" rotWithShape="1">
            <a:gsLst>
              <a:gs pos="4000">
                <a:schemeClr val="accent4">
                  <a:lumMod val="75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  <a:tileRect/>
          </a:gradFill>
        </a:ln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orthographicFront"/>
          <a:lightRig rig="glow" dir="t"/>
        </a:scene3d>
        <a:sp3d prstMaterial="plastic">
          <a:bevelT w="127000" h="25400" prst="softRound"/>
        </a:sp3d>
      </dgm:spPr>
      <dgm:t>
        <a:bodyPr vert="horz" anchor="ctr" anchorCtr="1">
          <a:sp3d/>
        </a:bodyPr>
        <a:lstStyle/>
        <a:p>
          <a:r>
            <a:rPr lang="bg-BG" sz="1400" b="1" spc="0" dirty="0" smtClean="0">
              <a:solidFill>
                <a:schemeClr val="accent4">
                  <a:lumMod val="50000"/>
                </a:schemeClr>
              </a:solidFill>
              <a:effectLst/>
            </a:rPr>
            <a:t>Фонд за технологичен трансфер </a:t>
          </a:r>
          <a:r>
            <a:rPr lang="en-US" sz="1400" b="1" spc="0" dirty="0" smtClean="0">
              <a:solidFill>
                <a:schemeClr val="accent4">
                  <a:lumMod val="50000"/>
                </a:schemeClr>
              </a:solidFill>
              <a:effectLst/>
            </a:rPr>
            <a:t/>
          </a:r>
          <a:br>
            <a:rPr lang="en-US" sz="1400" b="1" spc="0" dirty="0" smtClean="0">
              <a:solidFill>
                <a:schemeClr val="accent4">
                  <a:lumMod val="50000"/>
                </a:schemeClr>
              </a:solidFill>
              <a:effectLst/>
            </a:rPr>
          </a:br>
          <a:r>
            <a:rPr lang="bg-BG" sz="1400" b="1" spc="0" dirty="0" smtClean="0">
              <a:solidFill>
                <a:schemeClr val="accent4">
                  <a:lumMod val="50000"/>
                </a:schemeClr>
              </a:solidFill>
              <a:effectLst/>
            </a:rPr>
            <a:t>(30 млн. евро)</a:t>
          </a:r>
          <a:endParaRPr lang="bg-BG" sz="1400" b="1" spc="0" dirty="0">
            <a:solidFill>
              <a:schemeClr val="accent4">
                <a:lumMod val="50000"/>
              </a:schemeClr>
            </a:solidFill>
            <a:effectLst/>
          </a:endParaRPr>
        </a:p>
      </dgm:t>
    </dgm:pt>
    <dgm:pt modelId="{FC6B2757-C1A4-4B0E-837E-8028FFB5F874}" type="parTrans" cxnId="{AA5422EE-D13C-4978-9655-2778E9EE18ED}">
      <dgm:prSet/>
      <dgm:spPr/>
      <dgm:t>
        <a:bodyPr/>
        <a:lstStyle/>
        <a:p>
          <a:endParaRPr lang="bg-BG"/>
        </a:p>
      </dgm:t>
    </dgm:pt>
    <dgm:pt modelId="{B699B91C-8213-401F-A0FE-70B080DF8D6B}" type="sibTrans" cxnId="{AA5422EE-D13C-4978-9655-2778E9EE18ED}">
      <dgm:prSet/>
      <dgm:spPr/>
      <dgm:t>
        <a:bodyPr/>
        <a:lstStyle/>
        <a:p>
          <a:endParaRPr lang="bg-BG"/>
        </a:p>
      </dgm:t>
    </dgm:pt>
    <dgm:pt modelId="{A3CC174E-0DAA-4804-8C59-598B46A9BA93}">
      <dgm:prSet custT="1"/>
      <dgm:spPr>
        <a:gradFill flip="none" rotWithShape="0">
          <a:gsLst>
            <a:gs pos="0">
              <a:schemeClr val="accent4">
                <a:lumMod val="60000"/>
                <a:lumOff val="40000"/>
              </a:schemeClr>
            </a:gs>
            <a:gs pos="64999">
              <a:srgbClr val="F0EBD5"/>
            </a:gs>
            <a:gs pos="100000">
              <a:srgbClr val="D1C39F"/>
            </a:gs>
          </a:gsLst>
          <a:lin ang="2700000" scaled="0"/>
          <a:tileRect/>
        </a:gradFill>
        <a:ln>
          <a:gradFill flip="none" rotWithShape="1">
            <a:gsLst>
              <a:gs pos="4000">
                <a:schemeClr val="accent4">
                  <a:lumMod val="75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  <a:tileRect/>
          </a:gradFill>
        </a:ln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orthographicFront"/>
          <a:lightRig rig="glow" dir="t"/>
        </a:scene3d>
        <a:sp3d prstMaterial="plastic">
          <a:bevelT w="127000" h="25400" prst="softRound"/>
        </a:sp3d>
      </dgm:spPr>
      <dgm:t>
        <a:bodyPr vert="horz">
          <a:sp3d/>
        </a:bodyPr>
        <a:lstStyle/>
        <a:p>
          <a:r>
            <a:rPr lang="bg-BG" sz="1400" b="1" dirty="0" smtClean="0">
              <a:solidFill>
                <a:schemeClr val="accent4">
                  <a:lumMod val="50000"/>
                </a:schemeClr>
              </a:solidFill>
            </a:rPr>
            <a:t>Гаранции, покриващи загуби по </a:t>
          </a:r>
          <a:r>
            <a:rPr lang="bg-BG" sz="1400" b="1" dirty="0" smtClean="0">
              <a:solidFill>
                <a:schemeClr val="accent4">
                  <a:lumMod val="50000"/>
                </a:schemeClr>
              </a:solidFill>
              <a:effectLst/>
            </a:rPr>
            <a:t>портфейл</a:t>
          </a:r>
          <a:r>
            <a:rPr lang="bg-BG" sz="1400" b="1" dirty="0" smtClean="0">
              <a:solidFill>
                <a:schemeClr val="accent4">
                  <a:lumMod val="50000"/>
                </a:schemeClr>
              </a:solidFill>
            </a:rPr>
            <a:t> от заеми </a:t>
          </a:r>
          <a:r>
            <a:rPr lang="en-US" sz="1400" b="1" dirty="0" smtClean="0">
              <a:solidFill>
                <a:schemeClr val="accent4">
                  <a:lumMod val="50000"/>
                </a:schemeClr>
              </a:solidFill>
            </a:rPr>
            <a:t/>
          </a:r>
          <a:br>
            <a:rPr lang="en-US" sz="1400" b="1" dirty="0" smtClean="0">
              <a:solidFill>
                <a:schemeClr val="accent4">
                  <a:lumMod val="50000"/>
                </a:schemeClr>
              </a:solidFill>
            </a:rPr>
          </a:br>
          <a:r>
            <a:rPr lang="bg-BG" sz="1400" b="1" dirty="0" smtClean="0">
              <a:solidFill>
                <a:schemeClr val="accent4">
                  <a:lumMod val="50000"/>
                </a:schemeClr>
              </a:solidFill>
            </a:rPr>
            <a:t>(30 млн. евро)</a:t>
          </a:r>
          <a:endParaRPr lang="bg-BG" sz="1400" b="1" dirty="0">
            <a:solidFill>
              <a:schemeClr val="accent4">
                <a:lumMod val="50000"/>
              </a:schemeClr>
            </a:solidFill>
          </a:endParaRPr>
        </a:p>
      </dgm:t>
    </dgm:pt>
    <dgm:pt modelId="{AFC5EFE4-2A00-4470-8A4A-E49C69980C68}" type="parTrans" cxnId="{1C74C3EE-CC28-4650-AD0A-458057E86D9B}">
      <dgm:prSet/>
      <dgm:spPr/>
      <dgm:t>
        <a:bodyPr/>
        <a:lstStyle/>
        <a:p>
          <a:endParaRPr lang="bg-BG"/>
        </a:p>
      </dgm:t>
    </dgm:pt>
    <dgm:pt modelId="{C6490519-8FF2-42D9-B7B5-8C8184DFDC9A}" type="sibTrans" cxnId="{1C74C3EE-CC28-4650-AD0A-458057E86D9B}">
      <dgm:prSet/>
      <dgm:spPr/>
      <dgm:t>
        <a:bodyPr/>
        <a:lstStyle/>
        <a:p>
          <a:endParaRPr lang="bg-BG"/>
        </a:p>
      </dgm:t>
    </dgm:pt>
    <dgm:pt modelId="{CB1E233C-5228-4E3A-8DB7-73365021750D}">
      <dgm:prSet phldrT="[Text]" custT="1"/>
      <dgm:spPr>
        <a:gradFill flip="none" rotWithShape="1">
          <a:gsLst>
            <a:gs pos="0">
              <a:schemeClr val="accent6">
                <a:lumMod val="60000"/>
                <a:lumOff val="40000"/>
              </a:schemeClr>
            </a:gs>
            <a:gs pos="64999">
              <a:srgbClr val="F0EBD5"/>
            </a:gs>
            <a:gs pos="100000">
              <a:srgbClr val="D1C39F"/>
            </a:gs>
          </a:gsLst>
          <a:lin ang="2700000" scaled="0"/>
          <a:tileRect/>
        </a:gradFill>
        <a:ln>
          <a:gradFill flip="none" rotWithShape="1">
            <a:gsLst>
              <a:gs pos="0">
                <a:schemeClr val="accent6">
                  <a:lumMod val="75000"/>
                </a:schemeClr>
              </a:gs>
              <a:gs pos="28000">
                <a:schemeClr val="accent6">
                  <a:lumMod val="5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2700000" scaled="1"/>
            <a:tileRect/>
          </a:gradFill>
        </a:ln>
        <a:scene3d>
          <a:camera prst="orthographicFront"/>
          <a:lightRig rig="glow" dir="t"/>
        </a:scene3d>
        <a:sp3d prstMaterial="plastic">
          <a:bevelT w="127000" h="25400" prst="softRound"/>
        </a:sp3d>
      </dgm:spPr>
      <dgm:t>
        <a:bodyPr/>
        <a:lstStyle/>
        <a:p>
          <a:r>
            <a:rPr lang="bg-BG" sz="1400" b="1" noProof="0" dirty="0" smtClean="0">
              <a:solidFill>
                <a:schemeClr val="accent6">
                  <a:lumMod val="50000"/>
                </a:schemeClr>
              </a:solidFill>
            </a:rPr>
            <a:t>Гаранции</a:t>
          </a:r>
          <a:r>
            <a:rPr lang="ru-RU" sz="1400" b="1" dirty="0" smtClean="0">
              <a:solidFill>
                <a:schemeClr val="accent6">
                  <a:lumMod val="50000"/>
                </a:schemeClr>
              </a:solidFill>
            </a:rPr>
            <a:t>, </a:t>
          </a:r>
          <a:r>
            <a:rPr lang="bg-BG" sz="1400" b="1" noProof="1" smtClean="0">
              <a:solidFill>
                <a:schemeClr val="accent6">
                  <a:lumMod val="50000"/>
                </a:schemeClr>
              </a:solidFill>
            </a:rPr>
            <a:t>покриващи</a:t>
          </a:r>
          <a:r>
            <a:rPr lang="ru-RU" sz="1400" b="1" dirty="0" smtClean="0">
              <a:solidFill>
                <a:schemeClr val="accent6">
                  <a:lumMod val="50000"/>
                </a:schemeClr>
              </a:solidFill>
            </a:rPr>
            <a:t> загуби </a:t>
          </a:r>
          <a:r>
            <a:rPr lang="bg-BG" sz="1400" b="1" noProof="0" dirty="0" smtClean="0">
              <a:solidFill>
                <a:schemeClr val="accent6">
                  <a:lumMod val="50000"/>
                </a:schemeClr>
              </a:solidFill>
            </a:rPr>
            <a:t>по портфейл от заеми </a:t>
          </a:r>
          <a:r>
            <a:rPr lang="en-US" sz="1400" b="1" noProof="0" dirty="0" smtClean="0">
              <a:solidFill>
                <a:schemeClr val="accent6">
                  <a:lumMod val="50000"/>
                </a:schemeClr>
              </a:solidFill>
            </a:rPr>
            <a:t/>
          </a:r>
          <a:br>
            <a:rPr lang="en-US" sz="1400" b="1" noProof="0" dirty="0" smtClean="0">
              <a:solidFill>
                <a:schemeClr val="accent6">
                  <a:lumMod val="50000"/>
                </a:schemeClr>
              </a:solidFill>
            </a:rPr>
          </a:br>
          <a:r>
            <a:rPr lang="ru-RU" sz="1400" b="1" dirty="0" smtClean="0">
              <a:solidFill>
                <a:schemeClr val="accent6">
                  <a:lumMod val="50000"/>
                </a:schemeClr>
              </a:solidFill>
            </a:rPr>
            <a:t>(40 млн. евро)</a:t>
          </a:r>
          <a:endParaRPr lang="bg-BG" sz="1400" b="1" dirty="0">
            <a:solidFill>
              <a:schemeClr val="accent6">
                <a:lumMod val="50000"/>
              </a:schemeClr>
            </a:solidFill>
          </a:endParaRPr>
        </a:p>
      </dgm:t>
    </dgm:pt>
    <dgm:pt modelId="{BBD78A66-4C44-4DD7-BE9D-9C14EC7BCF17}" type="parTrans" cxnId="{64C62E5A-EDB0-410A-969B-E079F908BA92}">
      <dgm:prSet/>
      <dgm:spPr/>
      <dgm:t>
        <a:bodyPr/>
        <a:lstStyle/>
        <a:p>
          <a:endParaRPr lang="bg-BG"/>
        </a:p>
      </dgm:t>
    </dgm:pt>
    <dgm:pt modelId="{B1404F55-62CF-473B-9CCD-B7F06CC37976}" type="sibTrans" cxnId="{64C62E5A-EDB0-410A-969B-E079F908BA92}">
      <dgm:prSet/>
      <dgm:spPr/>
      <dgm:t>
        <a:bodyPr/>
        <a:lstStyle/>
        <a:p>
          <a:endParaRPr lang="bg-BG"/>
        </a:p>
      </dgm:t>
    </dgm:pt>
    <dgm:pt modelId="{C5275D5A-B273-48A5-88A8-265E6A63C561}">
      <dgm:prSet custT="1"/>
      <dgm:spPr>
        <a:gradFill flip="none" rotWithShape="1">
          <a:gsLst>
            <a:gs pos="0">
              <a:schemeClr val="accent2">
                <a:lumMod val="60000"/>
                <a:lumOff val="40000"/>
              </a:schemeClr>
            </a:gs>
            <a:gs pos="64999">
              <a:srgbClr val="F0EBD5"/>
            </a:gs>
            <a:gs pos="100000">
              <a:srgbClr val="D1C39F"/>
            </a:gs>
          </a:gsLst>
          <a:lin ang="8100000" scaled="1"/>
          <a:tileRect/>
        </a:gradFill>
        <a:ln cmpd="dbl">
          <a:gradFill flip="none" rotWithShape="1">
            <a:gsLst>
              <a:gs pos="4000">
                <a:schemeClr val="accent2">
                  <a:lumMod val="75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  <a:tileRect/>
          </a:gradFill>
        </a:ln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orthographicFront"/>
          <a:lightRig rig="glow" dir="t"/>
        </a:scene3d>
        <a:sp3d prstMaterial="plastic">
          <a:bevelT w="127000" h="25400" prst="softRound"/>
        </a:sp3d>
      </dgm:spPr>
      <dgm:t>
        <a:bodyPr vert="horz" anchor="ctr" anchorCtr="1">
          <a:sp3d/>
        </a:bodyPr>
        <a:lstStyle/>
        <a:p>
          <a:r>
            <a:rPr lang="bg-BG" sz="1200" b="1" spc="0" dirty="0" smtClean="0">
              <a:solidFill>
                <a:srgbClr val="002060"/>
              </a:solidFill>
              <a:effectLst/>
            </a:rPr>
            <a:t>Фонд за </a:t>
          </a:r>
          <a:r>
            <a:rPr lang="bg-BG" sz="1200" b="1" noProof="1" smtClean="0">
              <a:solidFill>
                <a:srgbClr val="002060"/>
              </a:solidFill>
            </a:rPr>
            <a:t>начално финансиране </a:t>
          </a:r>
          <a:r>
            <a:rPr lang="en-US" sz="1200" b="1" noProof="1" smtClean="0">
              <a:solidFill>
                <a:srgbClr val="002060"/>
              </a:solidFill>
            </a:rPr>
            <a:t/>
          </a:r>
          <a:br>
            <a:rPr lang="en-US" sz="1200" b="1" noProof="1" smtClean="0">
              <a:solidFill>
                <a:srgbClr val="002060"/>
              </a:solidFill>
            </a:rPr>
          </a:br>
          <a:r>
            <a:rPr lang="bg-BG" sz="1200" b="1" spc="0" dirty="0" smtClean="0">
              <a:solidFill>
                <a:srgbClr val="002060"/>
              </a:solidFill>
              <a:effectLst/>
            </a:rPr>
            <a:t>(</a:t>
          </a:r>
          <a:r>
            <a:rPr lang="en-US" sz="1200" b="1" spc="0" dirty="0" smtClean="0">
              <a:solidFill>
                <a:srgbClr val="002060"/>
              </a:solidFill>
              <a:effectLst/>
            </a:rPr>
            <a:t>55</a:t>
          </a:r>
          <a:r>
            <a:rPr lang="bg-BG" sz="1200" b="1" spc="0" dirty="0" smtClean="0">
              <a:solidFill>
                <a:srgbClr val="002060"/>
              </a:solidFill>
              <a:effectLst/>
            </a:rPr>
            <a:t> млн. евро)</a:t>
          </a:r>
          <a:endParaRPr lang="bg-BG" sz="1200" b="1" spc="0" dirty="0">
            <a:solidFill>
              <a:srgbClr val="002060"/>
            </a:solidFill>
            <a:effectLst/>
          </a:endParaRPr>
        </a:p>
      </dgm:t>
    </dgm:pt>
    <dgm:pt modelId="{2F3BA803-35BE-4180-8990-45A43A64AF66}" type="parTrans" cxnId="{96100AA0-FF99-4325-8928-662E34629DC6}">
      <dgm:prSet/>
      <dgm:spPr/>
      <dgm:t>
        <a:bodyPr/>
        <a:lstStyle/>
        <a:p>
          <a:endParaRPr lang="bg-BG"/>
        </a:p>
      </dgm:t>
    </dgm:pt>
    <dgm:pt modelId="{8D4389AD-37AF-438D-8D41-2B0C748174DC}" type="sibTrans" cxnId="{96100AA0-FF99-4325-8928-662E34629DC6}">
      <dgm:prSet/>
      <dgm:spPr/>
      <dgm:t>
        <a:bodyPr/>
        <a:lstStyle/>
        <a:p>
          <a:endParaRPr lang="bg-BG"/>
        </a:p>
      </dgm:t>
    </dgm:pt>
    <dgm:pt modelId="{637462F8-47F8-4FD3-A258-FF67BE4A8A2E}">
      <dgm:prSet custT="1"/>
      <dgm:spPr>
        <a:gradFill flip="none" rotWithShape="1">
          <a:gsLst>
            <a:gs pos="0">
              <a:schemeClr val="accent2">
                <a:lumMod val="60000"/>
                <a:lumOff val="40000"/>
              </a:schemeClr>
            </a:gs>
            <a:gs pos="65000">
              <a:srgbClr val="F0EBD5"/>
            </a:gs>
            <a:gs pos="98000">
              <a:srgbClr val="D1C39F"/>
            </a:gs>
          </a:gsLst>
          <a:lin ang="8100000" scaled="1"/>
          <a:tileRect/>
        </a:gradFill>
        <a:ln cmpd="dbl">
          <a:gradFill flip="none" rotWithShape="1">
            <a:gsLst>
              <a:gs pos="4000">
                <a:schemeClr val="accent2">
                  <a:lumMod val="75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  <a:tileRect/>
          </a:gradFill>
        </a:ln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orthographicFront"/>
          <a:lightRig rig="glow" dir="t"/>
        </a:scene3d>
        <a:sp3d prstMaterial="plastic">
          <a:bevelT w="127000" h="25400" prst="softRound"/>
        </a:sp3d>
      </dgm:spPr>
      <dgm:t>
        <a:bodyPr vert="horz" anchor="ctr" anchorCtr="1">
          <a:sp3d/>
        </a:bodyPr>
        <a:lstStyle/>
        <a:p>
          <a:r>
            <a:rPr lang="bg-BG" sz="1200" b="1" dirty="0" smtClean="0">
              <a:solidFill>
                <a:srgbClr val="002060"/>
              </a:solidFill>
            </a:rPr>
            <a:t>Фонд за рисков капитал (25 млн. евро)</a:t>
          </a:r>
          <a:endParaRPr lang="bg-BG" sz="1200" b="1" spc="0" dirty="0">
            <a:solidFill>
              <a:srgbClr val="002060"/>
            </a:solidFill>
            <a:effectLst/>
          </a:endParaRPr>
        </a:p>
      </dgm:t>
    </dgm:pt>
    <dgm:pt modelId="{6251BBA9-3481-4F1D-AFA2-41CE40791C9A}" type="parTrans" cxnId="{278BAF79-B7C3-4D64-A95F-B7F79C43CF93}">
      <dgm:prSet/>
      <dgm:spPr/>
      <dgm:t>
        <a:bodyPr/>
        <a:lstStyle/>
        <a:p>
          <a:endParaRPr lang="bg-BG"/>
        </a:p>
      </dgm:t>
    </dgm:pt>
    <dgm:pt modelId="{FEDD7AAB-18AE-4351-AD31-B3647E2150AA}" type="sibTrans" cxnId="{278BAF79-B7C3-4D64-A95F-B7F79C43CF93}">
      <dgm:prSet/>
      <dgm:spPr/>
      <dgm:t>
        <a:bodyPr/>
        <a:lstStyle/>
        <a:p>
          <a:endParaRPr lang="bg-BG"/>
        </a:p>
      </dgm:t>
    </dgm:pt>
    <dgm:pt modelId="{DCF6E7F8-4FB3-494F-AE1A-43CA5B8110E9}">
      <dgm:prSet custT="1"/>
      <dgm:spPr>
        <a:gradFill flip="none" rotWithShape="1">
          <a:gsLst>
            <a:gs pos="0">
              <a:schemeClr val="accent2">
                <a:lumMod val="60000"/>
                <a:lumOff val="40000"/>
              </a:schemeClr>
            </a:gs>
            <a:gs pos="65000">
              <a:srgbClr val="F0EBD5"/>
            </a:gs>
            <a:gs pos="100000">
              <a:srgbClr val="D1C39F"/>
            </a:gs>
          </a:gsLst>
          <a:lin ang="8100000" scaled="1"/>
          <a:tileRect/>
        </a:gradFill>
        <a:ln cmpd="dbl">
          <a:gradFill flip="none" rotWithShape="1">
            <a:gsLst>
              <a:gs pos="4000">
                <a:schemeClr val="accent2">
                  <a:lumMod val="75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  <a:tileRect/>
          </a:gradFill>
        </a:ln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orthographicFront"/>
          <a:lightRig rig="glow" dir="t"/>
        </a:scene3d>
        <a:sp3d prstMaterial="plastic">
          <a:bevelT w="127000" h="25400" prst="softRound"/>
        </a:sp3d>
      </dgm:spPr>
      <dgm:t>
        <a:bodyPr vert="horz" anchor="ctr" anchorCtr="1">
          <a:sp3d/>
        </a:bodyPr>
        <a:lstStyle/>
        <a:p>
          <a:r>
            <a:rPr lang="bg-BG" sz="1200" b="1" dirty="0" smtClean="0">
              <a:solidFill>
                <a:srgbClr val="002060"/>
              </a:solidFill>
            </a:rPr>
            <a:t>Фонд за съфинансиране/</a:t>
          </a:r>
          <a:r>
            <a:rPr lang="en-US" sz="1200" b="1" dirty="0" smtClean="0">
              <a:solidFill>
                <a:srgbClr val="002060"/>
              </a:solidFill>
            </a:rPr>
            <a:t/>
          </a:r>
          <a:br>
            <a:rPr lang="en-US" sz="1200" b="1" dirty="0" smtClean="0">
              <a:solidFill>
                <a:srgbClr val="002060"/>
              </a:solidFill>
            </a:rPr>
          </a:br>
          <a:r>
            <a:rPr lang="bg-BG" sz="1200" b="1" dirty="0" smtClean="0">
              <a:solidFill>
                <a:srgbClr val="002060"/>
              </a:solidFill>
            </a:rPr>
            <a:t>мецанин </a:t>
          </a:r>
          <a:r>
            <a:rPr lang="en-US" sz="1200" b="1" dirty="0" smtClean="0">
              <a:solidFill>
                <a:srgbClr val="002060"/>
              </a:solidFill>
            </a:rPr>
            <a:t/>
          </a:r>
          <a:br>
            <a:rPr lang="en-US" sz="1200" b="1" dirty="0" smtClean="0">
              <a:solidFill>
                <a:srgbClr val="002060"/>
              </a:solidFill>
            </a:rPr>
          </a:br>
          <a:r>
            <a:rPr lang="bg-BG" sz="1200" b="1" dirty="0" smtClean="0">
              <a:solidFill>
                <a:srgbClr val="002060"/>
              </a:solidFill>
            </a:rPr>
            <a:t>(40 млн. евро)</a:t>
          </a:r>
          <a:endParaRPr lang="bg-BG" sz="1200" b="1" spc="0" dirty="0">
            <a:solidFill>
              <a:srgbClr val="002060"/>
            </a:solidFill>
            <a:effectLst/>
          </a:endParaRPr>
        </a:p>
      </dgm:t>
    </dgm:pt>
    <dgm:pt modelId="{21CA9B66-BDB2-40D7-B34E-0AA031891855}" type="parTrans" cxnId="{A3D3DD7A-D037-437C-8CF4-77BA5C6DE5E7}">
      <dgm:prSet/>
      <dgm:spPr/>
      <dgm:t>
        <a:bodyPr/>
        <a:lstStyle/>
        <a:p>
          <a:endParaRPr lang="bg-BG"/>
        </a:p>
      </dgm:t>
    </dgm:pt>
    <dgm:pt modelId="{C8283C48-656E-4CBA-B026-31D30756D947}" type="sibTrans" cxnId="{A3D3DD7A-D037-437C-8CF4-77BA5C6DE5E7}">
      <dgm:prSet/>
      <dgm:spPr/>
      <dgm:t>
        <a:bodyPr/>
        <a:lstStyle/>
        <a:p>
          <a:endParaRPr lang="bg-BG"/>
        </a:p>
      </dgm:t>
    </dgm:pt>
    <dgm:pt modelId="{0D3E8F7F-5AD1-4C0C-97AB-91DF44FA9F82}">
      <dgm:prSet custT="1"/>
      <dgm:spPr>
        <a:gradFill flip="none" rotWithShape="1">
          <a:gsLst>
            <a:gs pos="0">
              <a:schemeClr val="accent2">
                <a:lumMod val="60000"/>
                <a:lumOff val="40000"/>
              </a:schemeClr>
            </a:gs>
            <a:gs pos="64999">
              <a:srgbClr val="F0EBD5"/>
            </a:gs>
            <a:gs pos="100000">
              <a:srgbClr val="D1C39F"/>
            </a:gs>
          </a:gsLst>
          <a:lin ang="8100000" scaled="1"/>
          <a:tileRect/>
        </a:gradFill>
        <a:ln cmpd="dbl">
          <a:gradFill flip="none" rotWithShape="1">
            <a:gsLst>
              <a:gs pos="4000">
                <a:schemeClr val="accent2">
                  <a:lumMod val="75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  <a:tileRect/>
          </a:gradFill>
        </a:ln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orthographicFront"/>
          <a:lightRig rig="glow" dir="t"/>
        </a:scene3d>
        <a:sp3d prstMaterial="plastic">
          <a:bevelT w="127000" h="25400" prst="softRound"/>
        </a:sp3d>
      </dgm:spPr>
      <dgm:t>
        <a:bodyPr vert="horz" anchor="ctr" anchorCtr="1">
          <a:sp3d/>
        </a:bodyPr>
        <a:lstStyle/>
        <a:p>
          <a:r>
            <a:rPr lang="bg-BG" sz="1200" b="1" dirty="0" smtClean="0">
              <a:solidFill>
                <a:srgbClr val="002060"/>
              </a:solidFill>
            </a:rPr>
            <a:t>Фонд за микрофинансиране чрез споделяне на риска </a:t>
          </a:r>
          <a:br>
            <a:rPr lang="bg-BG" sz="1200" b="1" dirty="0" smtClean="0">
              <a:solidFill>
                <a:srgbClr val="002060"/>
              </a:solidFill>
            </a:rPr>
          </a:br>
          <a:r>
            <a:rPr lang="bg-BG" sz="1200" b="1" dirty="0" smtClean="0">
              <a:solidFill>
                <a:srgbClr val="002060"/>
              </a:solidFill>
            </a:rPr>
            <a:t>(15 млн. евро)</a:t>
          </a:r>
          <a:endParaRPr lang="bg-BG" sz="1200" b="1" spc="0" dirty="0">
            <a:solidFill>
              <a:srgbClr val="002060"/>
            </a:solidFill>
            <a:effectLst/>
          </a:endParaRPr>
        </a:p>
      </dgm:t>
    </dgm:pt>
    <dgm:pt modelId="{69BDF240-F0B3-4405-A3F3-3DBE03659966}" type="parTrans" cxnId="{77C551E5-562F-4370-879F-5E444D552ABD}">
      <dgm:prSet/>
      <dgm:spPr/>
      <dgm:t>
        <a:bodyPr/>
        <a:lstStyle/>
        <a:p>
          <a:endParaRPr lang="bg-BG"/>
        </a:p>
      </dgm:t>
    </dgm:pt>
    <dgm:pt modelId="{7B1DDA0A-E4E2-49CE-854C-1815135CB12E}" type="sibTrans" cxnId="{77C551E5-562F-4370-879F-5E444D552ABD}">
      <dgm:prSet/>
      <dgm:spPr/>
      <dgm:t>
        <a:bodyPr/>
        <a:lstStyle/>
        <a:p>
          <a:endParaRPr lang="bg-BG"/>
        </a:p>
      </dgm:t>
    </dgm:pt>
    <dgm:pt modelId="{29B54FEC-E67E-4B67-A1BB-236F6551D1BC}" type="pres">
      <dgm:prSet presAssocID="{F363743B-EA68-44EF-87D7-360AC9F86EEA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bg-BG"/>
        </a:p>
      </dgm:t>
    </dgm:pt>
    <dgm:pt modelId="{86982A2C-6DBF-43BE-BC20-AB9BF7610FA7}" type="pres">
      <dgm:prSet presAssocID="{F9FA4259-2013-4683-A7FB-AEECA0B896E9}" presName="compNode" presStyleCnt="0"/>
      <dgm:spPr/>
    </dgm:pt>
    <dgm:pt modelId="{201D9A95-EC86-4C5B-A336-8159DC003581}" type="pres">
      <dgm:prSet presAssocID="{F9FA4259-2013-4683-A7FB-AEECA0B896E9}" presName="aNode" presStyleLbl="bgShp" presStyleIdx="0" presStyleCnt="3" custScaleX="93324" custScaleY="87921" custLinFactNeighborX="1423" custLinFactNeighborY="5716"/>
      <dgm:spPr/>
      <dgm:t>
        <a:bodyPr/>
        <a:lstStyle/>
        <a:p>
          <a:endParaRPr lang="bg-BG"/>
        </a:p>
      </dgm:t>
    </dgm:pt>
    <dgm:pt modelId="{DE816F6C-06BD-417C-A275-810998F72E33}" type="pres">
      <dgm:prSet presAssocID="{F9FA4259-2013-4683-A7FB-AEECA0B896E9}" presName="textNode" presStyleLbl="bgShp" presStyleIdx="0" presStyleCnt="3"/>
      <dgm:spPr/>
      <dgm:t>
        <a:bodyPr/>
        <a:lstStyle/>
        <a:p>
          <a:endParaRPr lang="bg-BG"/>
        </a:p>
      </dgm:t>
    </dgm:pt>
    <dgm:pt modelId="{9F9509FA-CF8C-4877-BB76-01BD757FD950}" type="pres">
      <dgm:prSet presAssocID="{F9FA4259-2013-4683-A7FB-AEECA0B896E9}" presName="compChildNode" presStyleCnt="0"/>
      <dgm:spPr/>
    </dgm:pt>
    <dgm:pt modelId="{4A667C68-2AF5-4E2B-9429-3BCD492621DD}" type="pres">
      <dgm:prSet presAssocID="{F9FA4259-2013-4683-A7FB-AEECA0B896E9}" presName="theInnerList" presStyleCnt="0"/>
      <dgm:spPr/>
    </dgm:pt>
    <dgm:pt modelId="{F880E11A-073E-4442-AF45-CEEAECB2D918}" type="pres">
      <dgm:prSet presAssocID="{17BF6DBC-DB1C-48F7-90EB-F4224FA92913}" presName="childNode" presStyleLbl="node1" presStyleIdx="0" presStyleCnt="7" custAng="0" custFlipHor="1" custLinFactNeighborX="-2275" custLinFactNeighborY="31231">
        <dgm:presLayoutVars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CC9F32A5-3619-47BC-A4DB-C1F515E65174}" type="pres">
      <dgm:prSet presAssocID="{17BF6DBC-DB1C-48F7-90EB-F4224FA92913}" presName="aSpace2" presStyleCnt="0"/>
      <dgm:spPr/>
    </dgm:pt>
    <dgm:pt modelId="{927CA930-025E-4887-B898-56CD680101C4}" type="pres">
      <dgm:prSet presAssocID="{A3CC174E-0DAA-4804-8C59-598B46A9BA93}" presName="childNode" presStyleLbl="node1" presStyleIdx="1" presStyleCnt="7" custLinFactNeighborX="-2274" custLinFactNeighborY="39825">
        <dgm:presLayoutVars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C624088B-CF86-4900-B101-0CB94BC34934}" type="pres">
      <dgm:prSet presAssocID="{F9FA4259-2013-4683-A7FB-AEECA0B896E9}" presName="aSpace" presStyleCnt="0"/>
      <dgm:spPr/>
    </dgm:pt>
    <dgm:pt modelId="{088D0F11-CC7B-48E6-A1CE-A47093493A7A}" type="pres">
      <dgm:prSet presAssocID="{4478FB66-F42D-4884-998E-747BC0EC9C2C}" presName="compNode" presStyleCnt="0"/>
      <dgm:spPr/>
    </dgm:pt>
    <dgm:pt modelId="{780E5E1A-E5BB-4863-B4D3-E383B1D912FC}" type="pres">
      <dgm:prSet presAssocID="{4478FB66-F42D-4884-998E-747BC0EC9C2C}" presName="aNode" presStyleLbl="bgShp" presStyleIdx="1" presStyleCnt="3" custScaleX="94271" custScaleY="87921" custLinFactNeighborX="-399" custLinFactNeighborY="6536"/>
      <dgm:spPr/>
      <dgm:t>
        <a:bodyPr/>
        <a:lstStyle/>
        <a:p>
          <a:endParaRPr lang="bg-BG"/>
        </a:p>
      </dgm:t>
    </dgm:pt>
    <dgm:pt modelId="{C920F351-C5A8-4DD9-82A3-8715A8C4FDD1}" type="pres">
      <dgm:prSet presAssocID="{4478FB66-F42D-4884-998E-747BC0EC9C2C}" presName="textNode" presStyleLbl="bgShp" presStyleIdx="1" presStyleCnt="3"/>
      <dgm:spPr/>
      <dgm:t>
        <a:bodyPr/>
        <a:lstStyle/>
        <a:p>
          <a:endParaRPr lang="bg-BG"/>
        </a:p>
      </dgm:t>
    </dgm:pt>
    <dgm:pt modelId="{1E7C4B61-C2F7-4EFC-B495-0F8F14BDEA72}" type="pres">
      <dgm:prSet presAssocID="{4478FB66-F42D-4884-998E-747BC0EC9C2C}" presName="compChildNode" presStyleCnt="0"/>
      <dgm:spPr/>
    </dgm:pt>
    <dgm:pt modelId="{974113D6-8249-4FD7-9A77-E878A575E5B0}" type="pres">
      <dgm:prSet presAssocID="{4478FB66-F42D-4884-998E-747BC0EC9C2C}" presName="theInnerList" presStyleCnt="0"/>
      <dgm:spPr/>
    </dgm:pt>
    <dgm:pt modelId="{B295341F-628E-446E-82F6-901710047622}" type="pres">
      <dgm:prSet presAssocID="{C5275D5A-B273-48A5-88A8-265E6A63C561}" presName="childNode" presStyleLbl="node1" presStyleIdx="2" presStyleCnt="7" custAng="0" custFlipHor="1" custScaleY="46425" custLinFactNeighborX="341" custLinFactNeighborY="30968">
        <dgm:presLayoutVars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44EDE35C-0690-4DA8-B933-C4331C4FE29E}" type="pres">
      <dgm:prSet presAssocID="{C5275D5A-B273-48A5-88A8-265E6A63C561}" presName="aSpace2" presStyleCnt="0"/>
      <dgm:spPr/>
    </dgm:pt>
    <dgm:pt modelId="{51A86443-BB7E-403B-8161-D0B5DF566FFB}" type="pres">
      <dgm:prSet presAssocID="{637462F8-47F8-4FD3-A258-FF67BE4A8A2E}" presName="childNode" presStyleLbl="node1" presStyleIdx="3" presStyleCnt="7" custAng="0" custFlipHor="1" custScaleY="46665" custLinFactNeighborX="341" custLinFactNeighborY="26499">
        <dgm:presLayoutVars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3618E418-FFDE-48A7-B574-3B227BEF19AA}" type="pres">
      <dgm:prSet presAssocID="{637462F8-47F8-4FD3-A258-FF67BE4A8A2E}" presName="aSpace2" presStyleCnt="0"/>
      <dgm:spPr/>
    </dgm:pt>
    <dgm:pt modelId="{117F2DFD-4A8F-4225-8AE5-CD406A73EFD5}" type="pres">
      <dgm:prSet presAssocID="{DCF6E7F8-4FB3-494F-AE1A-43CA5B8110E9}" presName="childNode" presStyleLbl="node1" presStyleIdx="4" presStyleCnt="7" custAng="0" custFlipHor="1" custScaleY="49362" custLinFactNeighborX="325" custLinFactNeighborY="13149">
        <dgm:presLayoutVars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A3183151-8B9C-41DD-A926-DF3A5A9DE56B}" type="pres">
      <dgm:prSet presAssocID="{DCF6E7F8-4FB3-494F-AE1A-43CA5B8110E9}" presName="aSpace2" presStyleCnt="0"/>
      <dgm:spPr/>
    </dgm:pt>
    <dgm:pt modelId="{EEFAA7AD-3912-491D-B216-164DFB383D15}" type="pres">
      <dgm:prSet presAssocID="{0D3E8F7F-5AD1-4C0C-97AB-91DF44FA9F82}" presName="childNode" presStyleLbl="node1" presStyleIdx="5" presStyleCnt="7" custAng="0" custFlipHor="1" custScaleY="77129" custLinFactNeighborX="325" custLinFactNeighborY="-3804">
        <dgm:presLayoutVars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E8642F6B-0E3D-4CED-97FB-0D0F7CCD3B24}" type="pres">
      <dgm:prSet presAssocID="{4478FB66-F42D-4884-998E-747BC0EC9C2C}" presName="aSpace" presStyleCnt="0"/>
      <dgm:spPr/>
    </dgm:pt>
    <dgm:pt modelId="{2D608CF4-F9CB-4F2D-B8CF-E8878066B519}" type="pres">
      <dgm:prSet presAssocID="{0E3AB651-9649-4DA8-9E3E-40B5FCEFBCF0}" presName="compNode" presStyleCnt="0"/>
      <dgm:spPr/>
    </dgm:pt>
    <dgm:pt modelId="{552F29C2-F82B-483E-A867-FD611756F8D4}" type="pres">
      <dgm:prSet presAssocID="{0E3AB651-9649-4DA8-9E3E-40B5FCEFBCF0}" presName="aNode" presStyleLbl="bgShp" presStyleIdx="2" presStyleCnt="3" custScaleX="91859" custScaleY="87921" custLinFactNeighborX="-1633" custLinFactNeighborY="9478"/>
      <dgm:spPr/>
      <dgm:t>
        <a:bodyPr/>
        <a:lstStyle/>
        <a:p>
          <a:endParaRPr lang="bg-BG"/>
        </a:p>
      </dgm:t>
    </dgm:pt>
    <dgm:pt modelId="{5082838F-F3C5-4990-A3DD-3E46418A1CC5}" type="pres">
      <dgm:prSet presAssocID="{0E3AB651-9649-4DA8-9E3E-40B5FCEFBCF0}" presName="textNode" presStyleLbl="bgShp" presStyleIdx="2" presStyleCnt="3"/>
      <dgm:spPr/>
      <dgm:t>
        <a:bodyPr/>
        <a:lstStyle/>
        <a:p>
          <a:endParaRPr lang="bg-BG"/>
        </a:p>
      </dgm:t>
    </dgm:pt>
    <dgm:pt modelId="{5B08FAAF-8524-4F14-A7F6-9297989ACF02}" type="pres">
      <dgm:prSet presAssocID="{0E3AB651-9649-4DA8-9E3E-40B5FCEFBCF0}" presName="compChildNode" presStyleCnt="0"/>
      <dgm:spPr/>
    </dgm:pt>
    <dgm:pt modelId="{0F4AAE80-8707-4E9D-A942-8050C58591C7}" type="pres">
      <dgm:prSet presAssocID="{0E3AB651-9649-4DA8-9E3E-40B5FCEFBCF0}" presName="theInnerList" presStyleCnt="0"/>
      <dgm:spPr/>
    </dgm:pt>
    <dgm:pt modelId="{F68CEF1C-BC21-4641-AD54-6E4B603F5E03}" type="pres">
      <dgm:prSet presAssocID="{CB1E233C-5228-4E3A-8DB7-73365021750D}" presName="childNode" presStyleLbl="node1" presStyleIdx="6" presStyleCnt="7" custScaleX="91967" custScaleY="109299" custLinFactNeighborX="-2665" custLinFactNeighborY="2533">
        <dgm:presLayoutVars>
          <dgm:bulletEnabled val="1"/>
        </dgm:presLayoutVars>
      </dgm:prSet>
      <dgm:spPr/>
      <dgm:t>
        <a:bodyPr/>
        <a:lstStyle/>
        <a:p>
          <a:endParaRPr lang="bg-BG"/>
        </a:p>
      </dgm:t>
    </dgm:pt>
  </dgm:ptLst>
  <dgm:cxnLst>
    <dgm:cxn modelId="{449BAC3E-FE39-40F8-87CB-3C0FDA1BEFF5}" type="presOf" srcId="{A3CC174E-0DAA-4804-8C59-598B46A9BA93}" destId="{927CA930-025E-4887-B898-56CD680101C4}" srcOrd="0" destOrd="0" presId="urn:microsoft.com/office/officeart/2005/8/layout/lProcess2"/>
    <dgm:cxn modelId="{DCB17F4B-4B29-4F0F-8F01-0BF74742C0A6}" type="presOf" srcId="{F9FA4259-2013-4683-A7FB-AEECA0B896E9}" destId="{DE816F6C-06BD-417C-A275-810998F72E33}" srcOrd="1" destOrd="0" presId="urn:microsoft.com/office/officeart/2005/8/layout/lProcess2"/>
    <dgm:cxn modelId="{64C62E5A-EDB0-410A-969B-E079F908BA92}" srcId="{0E3AB651-9649-4DA8-9E3E-40B5FCEFBCF0}" destId="{CB1E233C-5228-4E3A-8DB7-73365021750D}" srcOrd="0" destOrd="0" parTransId="{BBD78A66-4C44-4DD7-BE9D-9C14EC7BCF17}" sibTransId="{B1404F55-62CF-473B-9CCD-B7F06CC37976}"/>
    <dgm:cxn modelId="{1C74C3EE-CC28-4650-AD0A-458057E86D9B}" srcId="{F9FA4259-2013-4683-A7FB-AEECA0B896E9}" destId="{A3CC174E-0DAA-4804-8C59-598B46A9BA93}" srcOrd="1" destOrd="0" parTransId="{AFC5EFE4-2A00-4470-8A4A-E49C69980C68}" sibTransId="{C6490519-8FF2-42D9-B7B5-8C8184DFDC9A}"/>
    <dgm:cxn modelId="{FA725B4C-265E-41F0-93F7-845E595647C2}" type="presOf" srcId="{DCF6E7F8-4FB3-494F-AE1A-43CA5B8110E9}" destId="{117F2DFD-4A8F-4225-8AE5-CD406A73EFD5}" srcOrd="0" destOrd="0" presId="urn:microsoft.com/office/officeart/2005/8/layout/lProcess2"/>
    <dgm:cxn modelId="{32FD07B4-850D-4D90-9C9A-72A581F08EFD}" type="presOf" srcId="{C5275D5A-B273-48A5-88A8-265E6A63C561}" destId="{B295341F-628E-446E-82F6-901710047622}" srcOrd="0" destOrd="0" presId="urn:microsoft.com/office/officeart/2005/8/layout/lProcess2"/>
    <dgm:cxn modelId="{A46542DF-1365-4F7F-9643-2F43638ABDF3}" type="presOf" srcId="{17BF6DBC-DB1C-48F7-90EB-F4224FA92913}" destId="{F880E11A-073E-4442-AF45-CEEAECB2D918}" srcOrd="0" destOrd="0" presId="urn:microsoft.com/office/officeart/2005/8/layout/lProcess2"/>
    <dgm:cxn modelId="{E3791008-6254-4271-9457-1B17697B33A3}" srcId="{F363743B-EA68-44EF-87D7-360AC9F86EEA}" destId="{0E3AB651-9649-4DA8-9E3E-40B5FCEFBCF0}" srcOrd="2" destOrd="0" parTransId="{80C2337D-4736-4102-966E-446F2338B4E7}" sibTransId="{A5579BEC-F74B-4179-A195-4983CD41105B}"/>
    <dgm:cxn modelId="{AA5422EE-D13C-4978-9655-2778E9EE18ED}" srcId="{F9FA4259-2013-4683-A7FB-AEECA0B896E9}" destId="{17BF6DBC-DB1C-48F7-90EB-F4224FA92913}" srcOrd="0" destOrd="0" parTransId="{FC6B2757-C1A4-4B0E-837E-8028FFB5F874}" sibTransId="{B699B91C-8213-401F-A0FE-70B080DF8D6B}"/>
    <dgm:cxn modelId="{278BAF79-B7C3-4D64-A95F-B7F79C43CF93}" srcId="{4478FB66-F42D-4884-998E-747BC0EC9C2C}" destId="{637462F8-47F8-4FD3-A258-FF67BE4A8A2E}" srcOrd="1" destOrd="0" parTransId="{6251BBA9-3481-4F1D-AFA2-41CE40791C9A}" sibTransId="{FEDD7AAB-18AE-4351-AD31-B3647E2150AA}"/>
    <dgm:cxn modelId="{5094E28B-0EDE-420C-B142-2D6DDE699560}" type="presOf" srcId="{CB1E233C-5228-4E3A-8DB7-73365021750D}" destId="{F68CEF1C-BC21-4641-AD54-6E4B603F5E03}" srcOrd="0" destOrd="0" presId="urn:microsoft.com/office/officeart/2005/8/layout/lProcess2"/>
    <dgm:cxn modelId="{96100AA0-FF99-4325-8928-662E34629DC6}" srcId="{4478FB66-F42D-4884-998E-747BC0EC9C2C}" destId="{C5275D5A-B273-48A5-88A8-265E6A63C561}" srcOrd="0" destOrd="0" parTransId="{2F3BA803-35BE-4180-8990-45A43A64AF66}" sibTransId="{8D4389AD-37AF-438D-8D41-2B0C748174DC}"/>
    <dgm:cxn modelId="{3857793C-52D0-4739-A6B3-967E0CC040ED}" srcId="{F363743B-EA68-44EF-87D7-360AC9F86EEA}" destId="{F9FA4259-2013-4683-A7FB-AEECA0B896E9}" srcOrd="0" destOrd="0" parTransId="{E8EB82A7-D2B5-4922-9328-36B46B96D755}" sibTransId="{C7828996-BC21-44DB-8E4F-B86A77300E91}"/>
    <dgm:cxn modelId="{182FE5E9-719D-4B6F-B3A2-0E47E9CAADE4}" type="presOf" srcId="{4478FB66-F42D-4884-998E-747BC0EC9C2C}" destId="{C920F351-C5A8-4DD9-82A3-8715A8C4FDD1}" srcOrd="1" destOrd="0" presId="urn:microsoft.com/office/officeart/2005/8/layout/lProcess2"/>
    <dgm:cxn modelId="{04EAAE02-DED4-4C16-91EE-FCD67A918B20}" srcId="{F363743B-EA68-44EF-87D7-360AC9F86EEA}" destId="{4478FB66-F42D-4884-998E-747BC0EC9C2C}" srcOrd="1" destOrd="0" parTransId="{5B761C31-3399-4366-9FB3-D31952D565FC}" sibTransId="{3DAA543C-E0E4-4E3E-AECD-10134DF1D4F9}"/>
    <dgm:cxn modelId="{A6A44DAB-064B-4F15-859B-A21150FA669B}" type="presOf" srcId="{F9FA4259-2013-4683-A7FB-AEECA0B896E9}" destId="{201D9A95-EC86-4C5B-A336-8159DC003581}" srcOrd="0" destOrd="0" presId="urn:microsoft.com/office/officeart/2005/8/layout/lProcess2"/>
    <dgm:cxn modelId="{A3D3DD7A-D037-437C-8CF4-77BA5C6DE5E7}" srcId="{4478FB66-F42D-4884-998E-747BC0EC9C2C}" destId="{DCF6E7F8-4FB3-494F-AE1A-43CA5B8110E9}" srcOrd="2" destOrd="0" parTransId="{21CA9B66-BDB2-40D7-B34E-0AA031891855}" sibTransId="{C8283C48-656E-4CBA-B026-31D30756D947}"/>
    <dgm:cxn modelId="{9DDE2457-2925-4974-B05C-4FAE518FFC1A}" type="presOf" srcId="{F363743B-EA68-44EF-87D7-360AC9F86EEA}" destId="{29B54FEC-E67E-4B67-A1BB-236F6551D1BC}" srcOrd="0" destOrd="0" presId="urn:microsoft.com/office/officeart/2005/8/layout/lProcess2"/>
    <dgm:cxn modelId="{4B558E82-43F7-45A7-81C7-521BE1CBC406}" type="presOf" srcId="{4478FB66-F42D-4884-998E-747BC0EC9C2C}" destId="{780E5E1A-E5BB-4863-B4D3-E383B1D912FC}" srcOrd="0" destOrd="0" presId="urn:microsoft.com/office/officeart/2005/8/layout/lProcess2"/>
    <dgm:cxn modelId="{4C1F11DE-0608-4BF4-89A4-EA3743187424}" type="presOf" srcId="{0E3AB651-9649-4DA8-9E3E-40B5FCEFBCF0}" destId="{552F29C2-F82B-483E-A867-FD611756F8D4}" srcOrd="0" destOrd="0" presId="urn:microsoft.com/office/officeart/2005/8/layout/lProcess2"/>
    <dgm:cxn modelId="{77C551E5-562F-4370-879F-5E444D552ABD}" srcId="{4478FB66-F42D-4884-998E-747BC0EC9C2C}" destId="{0D3E8F7F-5AD1-4C0C-97AB-91DF44FA9F82}" srcOrd="3" destOrd="0" parTransId="{69BDF240-F0B3-4405-A3F3-3DBE03659966}" sibTransId="{7B1DDA0A-E4E2-49CE-854C-1815135CB12E}"/>
    <dgm:cxn modelId="{FAE11874-C5D7-4A0B-A6BC-8B50BAC62FA9}" type="presOf" srcId="{0D3E8F7F-5AD1-4C0C-97AB-91DF44FA9F82}" destId="{EEFAA7AD-3912-491D-B216-164DFB383D15}" srcOrd="0" destOrd="0" presId="urn:microsoft.com/office/officeart/2005/8/layout/lProcess2"/>
    <dgm:cxn modelId="{E64EED56-72AE-4184-A836-1C2CCA968881}" type="presOf" srcId="{0E3AB651-9649-4DA8-9E3E-40B5FCEFBCF0}" destId="{5082838F-F3C5-4990-A3DD-3E46418A1CC5}" srcOrd="1" destOrd="0" presId="urn:microsoft.com/office/officeart/2005/8/layout/lProcess2"/>
    <dgm:cxn modelId="{58D9166F-8C97-4133-8551-A1DA7CC214A4}" type="presOf" srcId="{637462F8-47F8-4FD3-A258-FF67BE4A8A2E}" destId="{51A86443-BB7E-403B-8161-D0B5DF566FFB}" srcOrd="0" destOrd="0" presId="urn:microsoft.com/office/officeart/2005/8/layout/lProcess2"/>
    <dgm:cxn modelId="{325DACA4-83C5-42B3-A60C-6C7B1B705BEA}" type="presParOf" srcId="{29B54FEC-E67E-4B67-A1BB-236F6551D1BC}" destId="{86982A2C-6DBF-43BE-BC20-AB9BF7610FA7}" srcOrd="0" destOrd="0" presId="urn:microsoft.com/office/officeart/2005/8/layout/lProcess2"/>
    <dgm:cxn modelId="{7C37B6FC-BCB9-49B5-8E59-45B8F71204E5}" type="presParOf" srcId="{86982A2C-6DBF-43BE-BC20-AB9BF7610FA7}" destId="{201D9A95-EC86-4C5B-A336-8159DC003581}" srcOrd="0" destOrd="0" presId="urn:microsoft.com/office/officeart/2005/8/layout/lProcess2"/>
    <dgm:cxn modelId="{64033002-7D59-44CB-95A2-D04385F26D52}" type="presParOf" srcId="{86982A2C-6DBF-43BE-BC20-AB9BF7610FA7}" destId="{DE816F6C-06BD-417C-A275-810998F72E33}" srcOrd="1" destOrd="0" presId="urn:microsoft.com/office/officeart/2005/8/layout/lProcess2"/>
    <dgm:cxn modelId="{F5C41766-99EB-40DD-98F5-DF889EA91BE7}" type="presParOf" srcId="{86982A2C-6DBF-43BE-BC20-AB9BF7610FA7}" destId="{9F9509FA-CF8C-4877-BB76-01BD757FD950}" srcOrd="2" destOrd="0" presId="urn:microsoft.com/office/officeart/2005/8/layout/lProcess2"/>
    <dgm:cxn modelId="{72AB466F-978A-43C2-8AFA-BD64CB233191}" type="presParOf" srcId="{9F9509FA-CF8C-4877-BB76-01BD757FD950}" destId="{4A667C68-2AF5-4E2B-9429-3BCD492621DD}" srcOrd="0" destOrd="0" presId="urn:microsoft.com/office/officeart/2005/8/layout/lProcess2"/>
    <dgm:cxn modelId="{8549A3D5-CCE1-4012-A4CE-250BA163203E}" type="presParOf" srcId="{4A667C68-2AF5-4E2B-9429-3BCD492621DD}" destId="{F880E11A-073E-4442-AF45-CEEAECB2D918}" srcOrd="0" destOrd="0" presId="urn:microsoft.com/office/officeart/2005/8/layout/lProcess2"/>
    <dgm:cxn modelId="{35BC55A1-48E6-4328-9836-0119A130DB7F}" type="presParOf" srcId="{4A667C68-2AF5-4E2B-9429-3BCD492621DD}" destId="{CC9F32A5-3619-47BC-A4DB-C1F515E65174}" srcOrd="1" destOrd="0" presId="urn:microsoft.com/office/officeart/2005/8/layout/lProcess2"/>
    <dgm:cxn modelId="{5DDA40D0-088B-49E6-9C4B-C315C5DE28A4}" type="presParOf" srcId="{4A667C68-2AF5-4E2B-9429-3BCD492621DD}" destId="{927CA930-025E-4887-B898-56CD680101C4}" srcOrd="2" destOrd="0" presId="urn:microsoft.com/office/officeart/2005/8/layout/lProcess2"/>
    <dgm:cxn modelId="{438011A9-CABA-48C8-9CB4-463774A0A6B4}" type="presParOf" srcId="{29B54FEC-E67E-4B67-A1BB-236F6551D1BC}" destId="{C624088B-CF86-4900-B101-0CB94BC34934}" srcOrd="1" destOrd="0" presId="urn:microsoft.com/office/officeart/2005/8/layout/lProcess2"/>
    <dgm:cxn modelId="{A4D2CFD6-8E79-4573-BAB6-2B811764C3D1}" type="presParOf" srcId="{29B54FEC-E67E-4B67-A1BB-236F6551D1BC}" destId="{088D0F11-CC7B-48E6-A1CE-A47093493A7A}" srcOrd="2" destOrd="0" presId="urn:microsoft.com/office/officeart/2005/8/layout/lProcess2"/>
    <dgm:cxn modelId="{1704BB79-6126-4D39-9652-1B9378F39669}" type="presParOf" srcId="{088D0F11-CC7B-48E6-A1CE-A47093493A7A}" destId="{780E5E1A-E5BB-4863-B4D3-E383B1D912FC}" srcOrd="0" destOrd="0" presId="urn:microsoft.com/office/officeart/2005/8/layout/lProcess2"/>
    <dgm:cxn modelId="{48AE6C4E-F0FC-419D-B71A-B46F548C79BA}" type="presParOf" srcId="{088D0F11-CC7B-48E6-A1CE-A47093493A7A}" destId="{C920F351-C5A8-4DD9-82A3-8715A8C4FDD1}" srcOrd="1" destOrd="0" presId="urn:microsoft.com/office/officeart/2005/8/layout/lProcess2"/>
    <dgm:cxn modelId="{434B7DF6-FE34-43BB-8D89-3095566FE38E}" type="presParOf" srcId="{088D0F11-CC7B-48E6-A1CE-A47093493A7A}" destId="{1E7C4B61-C2F7-4EFC-B495-0F8F14BDEA72}" srcOrd="2" destOrd="0" presId="urn:microsoft.com/office/officeart/2005/8/layout/lProcess2"/>
    <dgm:cxn modelId="{412C6F52-26C2-4DD4-9D13-1E71BC7D250B}" type="presParOf" srcId="{1E7C4B61-C2F7-4EFC-B495-0F8F14BDEA72}" destId="{974113D6-8249-4FD7-9A77-E878A575E5B0}" srcOrd="0" destOrd="0" presId="urn:microsoft.com/office/officeart/2005/8/layout/lProcess2"/>
    <dgm:cxn modelId="{C87D668A-1F20-4CB5-B6DB-F1B1CA56E024}" type="presParOf" srcId="{974113D6-8249-4FD7-9A77-E878A575E5B0}" destId="{B295341F-628E-446E-82F6-901710047622}" srcOrd="0" destOrd="0" presId="urn:microsoft.com/office/officeart/2005/8/layout/lProcess2"/>
    <dgm:cxn modelId="{7016105D-36EF-4F17-88FE-856AAC091B27}" type="presParOf" srcId="{974113D6-8249-4FD7-9A77-E878A575E5B0}" destId="{44EDE35C-0690-4DA8-B933-C4331C4FE29E}" srcOrd="1" destOrd="0" presId="urn:microsoft.com/office/officeart/2005/8/layout/lProcess2"/>
    <dgm:cxn modelId="{1456EC20-3875-40E5-80E0-6D81FD3B375D}" type="presParOf" srcId="{974113D6-8249-4FD7-9A77-E878A575E5B0}" destId="{51A86443-BB7E-403B-8161-D0B5DF566FFB}" srcOrd="2" destOrd="0" presId="urn:microsoft.com/office/officeart/2005/8/layout/lProcess2"/>
    <dgm:cxn modelId="{1E2C4460-A3D3-41C6-8493-4D02B1595C57}" type="presParOf" srcId="{974113D6-8249-4FD7-9A77-E878A575E5B0}" destId="{3618E418-FFDE-48A7-B574-3B227BEF19AA}" srcOrd="3" destOrd="0" presId="urn:microsoft.com/office/officeart/2005/8/layout/lProcess2"/>
    <dgm:cxn modelId="{6F28BCD4-B5B0-43CE-AA68-282FA0D5B9BD}" type="presParOf" srcId="{974113D6-8249-4FD7-9A77-E878A575E5B0}" destId="{117F2DFD-4A8F-4225-8AE5-CD406A73EFD5}" srcOrd="4" destOrd="0" presId="urn:microsoft.com/office/officeart/2005/8/layout/lProcess2"/>
    <dgm:cxn modelId="{60644923-1E1B-4675-851F-580775328ECD}" type="presParOf" srcId="{974113D6-8249-4FD7-9A77-E878A575E5B0}" destId="{A3183151-8B9C-41DD-A926-DF3A5A9DE56B}" srcOrd="5" destOrd="0" presId="urn:microsoft.com/office/officeart/2005/8/layout/lProcess2"/>
    <dgm:cxn modelId="{B9AC3711-D913-45CD-BA5B-78F59980CB37}" type="presParOf" srcId="{974113D6-8249-4FD7-9A77-E878A575E5B0}" destId="{EEFAA7AD-3912-491D-B216-164DFB383D15}" srcOrd="6" destOrd="0" presId="urn:microsoft.com/office/officeart/2005/8/layout/lProcess2"/>
    <dgm:cxn modelId="{6F93D47B-E794-4568-9FA5-5F6F48ACBAC6}" type="presParOf" srcId="{29B54FEC-E67E-4B67-A1BB-236F6551D1BC}" destId="{E8642F6B-0E3D-4CED-97FB-0D0F7CCD3B24}" srcOrd="3" destOrd="0" presId="urn:microsoft.com/office/officeart/2005/8/layout/lProcess2"/>
    <dgm:cxn modelId="{655594EE-362B-4DAA-8331-A047A2B9E9D4}" type="presParOf" srcId="{29B54FEC-E67E-4B67-A1BB-236F6551D1BC}" destId="{2D608CF4-F9CB-4F2D-B8CF-E8878066B519}" srcOrd="4" destOrd="0" presId="urn:microsoft.com/office/officeart/2005/8/layout/lProcess2"/>
    <dgm:cxn modelId="{14B7A6E9-B42A-44F3-B752-2379F741DFC4}" type="presParOf" srcId="{2D608CF4-F9CB-4F2D-B8CF-E8878066B519}" destId="{552F29C2-F82B-483E-A867-FD611756F8D4}" srcOrd="0" destOrd="0" presId="urn:microsoft.com/office/officeart/2005/8/layout/lProcess2"/>
    <dgm:cxn modelId="{876C2C36-D1E5-4D09-A3A3-A654AB6F595F}" type="presParOf" srcId="{2D608CF4-F9CB-4F2D-B8CF-E8878066B519}" destId="{5082838F-F3C5-4990-A3DD-3E46418A1CC5}" srcOrd="1" destOrd="0" presId="urn:microsoft.com/office/officeart/2005/8/layout/lProcess2"/>
    <dgm:cxn modelId="{0D73B11E-B3D3-46E0-A99D-E85E5FCE87BB}" type="presParOf" srcId="{2D608CF4-F9CB-4F2D-B8CF-E8878066B519}" destId="{5B08FAAF-8524-4F14-A7F6-9297989ACF02}" srcOrd="2" destOrd="0" presId="urn:microsoft.com/office/officeart/2005/8/layout/lProcess2"/>
    <dgm:cxn modelId="{01A6296B-FE84-45D3-A970-E6E152A4F074}" type="presParOf" srcId="{5B08FAAF-8524-4F14-A7F6-9297989ACF02}" destId="{0F4AAE80-8707-4E9D-A942-8050C58591C7}" srcOrd="0" destOrd="0" presId="urn:microsoft.com/office/officeart/2005/8/layout/lProcess2"/>
    <dgm:cxn modelId="{BB0493C0-6686-4690-B7ED-D632EE0163A4}" type="presParOf" srcId="{0F4AAE80-8707-4E9D-A942-8050C58591C7}" destId="{F68CEF1C-BC21-4641-AD54-6E4B603F5E03}" srcOrd="0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01D9A95-EC86-4C5B-A336-8159DC003581}">
      <dsp:nvSpPr>
        <dsp:cNvPr id="0" name=""/>
        <dsp:cNvSpPr/>
      </dsp:nvSpPr>
      <dsp:spPr>
        <a:xfrm>
          <a:off x="42844" y="626890"/>
          <a:ext cx="2606315" cy="4899102"/>
        </a:xfrm>
        <a:prstGeom prst="roundRect">
          <a:avLst>
            <a:gd name="adj" fmla="val 10000"/>
          </a:avLst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orthographicFront">
            <a:rot lat="0" lon="0" rev="0"/>
          </a:camera>
          <a:lightRig rig="glow" dir="t"/>
        </a:scene3d>
        <a:sp3d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0" rIns="53340" bIns="36000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chemeClr val="accent4">
                  <a:lumMod val="50000"/>
                </a:schemeClr>
              </a:solidFill>
              <a:effectLst/>
            </a:rPr>
            <a:t>Приоритетна ос 1: </a:t>
          </a:r>
          <a:br>
            <a:rPr lang="ru-RU" sz="1400" b="1" kern="1200" dirty="0" smtClean="0">
              <a:solidFill>
                <a:schemeClr val="accent4">
                  <a:lumMod val="50000"/>
                </a:schemeClr>
              </a:solidFill>
              <a:effectLst/>
            </a:rPr>
          </a:br>
          <a:r>
            <a:rPr lang="ru-RU" sz="1400" b="1" kern="1200" dirty="0" smtClean="0">
              <a:solidFill>
                <a:schemeClr val="accent4">
                  <a:lumMod val="50000"/>
                </a:schemeClr>
              </a:solidFill>
              <a:effectLst/>
            </a:rPr>
            <a:t>Технологично развитие и иновации</a:t>
          </a:r>
          <a:endParaRPr lang="bg-BG" sz="1400" b="1" kern="1200" dirty="0">
            <a:solidFill>
              <a:schemeClr val="accent4">
                <a:lumMod val="50000"/>
              </a:schemeClr>
            </a:solidFill>
            <a:effectLst/>
          </a:endParaRPr>
        </a:p>
      </dsp:txBody>
      <dsp:txXfrm>
        <a:off x="42844" y="626890"/>
        <a:ext cx="2606315" cy="1469730"/>
      </dsp:txXfrm>
    </dsp:sp>
    <dsp:sp modelId="{F880E11A-073E-4442-AF45-CEEAECB2D918}">
      <dsp:nvSpPr>
        <dsp:cNvPr id="0" name=""/>
        <dsp:cNvSpPr/>
      </dsp:nvSpPr>
      <dsp:spPr>
        <a:xfrm flipH="1">
          <a:off x="138329" y="1725860"/>
          <a:ext cx="2234207" cy="1680083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lumMod val="60000"/>
                <a:lumOff val="40000"/>
              </a:schemeClr>
            </a:gs>
            <a:gs pos="64999">
              <a:srgbClr val="F0EBD5"/>
            </a:gs>
            <a:gs pos="100000">
              <a:srgbClr val="D1C39F"/>
            </a:gs>
          </a:gsLst>
          <a:lin ang="2700000" scaled="0"/>
        </a:gradFill>
        <a:ln cmpd="dbl">
          <a:gradFill flip="none" rotWithShape="1">
            <a:gsLst>
              <a:gs pos="4000">
                <a:schemeClr val="accent4">
                  <a:lumMod val="75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  <a:tileRect/>
          </a:gradFill>
        </a:ln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orthographicFront"/>
          <a:lightRig rig="glow" dir="t"/>
        </a:scene3d>
        <a:sp3d prstMaterial="plastic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1">
          <a:noAutofit/>
          <a:sp3d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1400" b="1" kern="1200" spc="0" dirty="0" smtClean="0">
              <a:solidFill>
                <a:schemeClr val="accent4">
                  <a:lumMod val="50000"/>
                </a:schemeClr>
              </a:solidFill>
              <a:effectLst/>
            </a:rPr>
            <a:t>Фонд за технологичен трансфер </a:t>
          </a:r>
          <a:r>
            <a:rPr lang="en-US" sz="1400" b="1" kern="1200" spc="0" dirty="0" smtClean="0">
              <a:solidFill>
                <a:schemeClr val="accent4">
                  <a:lumMod val="50000"/>
                </a:schemeClr>
              </a:solidFill>
              <a:effectLst/>
            </a:rPr>
            <a:t/>
          </a:r>
          <a:br>
            <a:rPr lang="en-US" sz="1400" b="1" kern="1200" spc="0" dirty="0" smtClean="0">
              <a:solidFill>
                <a:schemeClr val="accent4">
                  <a:lumMod val="50000"/>
                </a:schemeClr>
              </a:solidFill>
              <a:effectLst/>
            </a:rPr>
          </a:br>
          <a:r>
            <a:rPr lang="bg-BG" sz="1400" b="1" kern="1200" spc="0" dirty="0" smtClean="0">
              <a:solidFill>
                <a:schemeClr val="accent4">
                  <a:lumMod val="50000"/>
                </a:schemeClr>
              </a:solidFill>
              <a:effectLst/>
            </a:rPr>
            <a:t>(30 млн. евро)</a:t>
          </a:r>
          <a:endParaRPr lang="bg-BG" sz="1400" b="1" kern="1200" spc="0" dirty="0">
            <a:solidFill>
              <a:schemeClr val="accent4">
                <a:lumMod val="50000"/>
              </a:schemeClr>
            </a:solidFill>
            <a:effectLst/>
          </a:endParaRPr>
        </a:p>
      </dsp:txBody>
      <dsp:txXfrm>
        <a:off x="187537" y="1775068"/>
        <a:ext cx="2135791" cy="1581667"/>
      </dsp:txXfrm>
    </dsp:sp>
    <dsp:sp modelId="{927CA930-025E-4887-B898-56CD680101C4}">
      <dsp:nvSpPr>
        <dsp:cNvPr id="0" name=""/>
        <dsp:cNvSpPr/>
      </dsp:nvSpPr>
      <dsp:spPr>
        <a:xfrm>
          <a:off x="138351" y="3686632"/>
          <a:ext cx="2234207" cy="1680083"/>
        </a:xfrm>
        <a:prstGeom prst="roundRect">
          <a:avLst>
            <a:gd name="adj" fmla="val 10000"/>
          </a:avLst>
        </a:prstGeom>
        <a:gradFill flip="none" rotWithShape="0">
          <a:gsLst>
            <a:gs pos="0">
              <a:schemeClr val="accent4">
                <a:lumMod val="60000"/>
                <a:lumOff val="40000"/>
              </a:schemeClr>
            </a:gs>
            <a:gs pos="64999">
              <a:srgbClr val="F0EBD5"/>
            </a:gs>
            <a:gs pos="100000">
              <a:srgbClr val="D1C39F"/>
            </a:gs>
          </a:gsLst>
          <a:lin ang="2700000" scaled="0"/>
          <a:tileRect/>
        </a:gradFill>
        <a:ln>
          <a:gradFill flip="none" rotWithShape="1">
            <a:gsLst>
              <a:gs pos="4000">
                <a:schemeClr val="accent4">
                  <a:lumMod val="75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  <a:tileRect/>
          </a:gradFill>
        </a:ln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orthographicFront"/>
          <a:lightRig rig="glow" dir="t"/>
        </a:scene3d>
        <a:sp3d prstMaterial="plastic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  <a:sp3d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1400" b="1" kern="1200" dirty="0" smtClean="0">
              <a:solidFill>
                <a:schemeClr val="accent4">
                  <a:lumMod val="50000"/>
                </a:schemeClr>
              </a:solidFill>
            </a:rPr>
            <a:t>Гаранции, покриващи загуби по </a:t>
          </a:r>
          <a:r>
            <a:rPr lang="bg-BG" sz="1400" b="1" kern="1200" dirty="0" smtClean="0">
              <a:solidFill>
                <a:schemeClr val="accent4">
                  <a:lumMod val="50000"/>
                </a:schemeClr>
              </a:solidFill>
              <a:effectLst/>
            </a:rPr>
            <a:t>портфейл</a:t>
          </a:r>
          <a:r>
            <a:rPr lang="bg-BG" sz="1400" b="1" kern="1200" dirty="0" smtClean="0">
              <a:solidFill>
                <a:schemeClr val="accent4">
                  <a:lumMod val="50000"/>
                </a:schemeClr>
              </a:solidFill>
            </a:rPr>
            <a:t> от заеми </a:t>
          </a:r>
          <a:r>
            <a:rPr lang="en-US" sz="1400" b="1" kern="1200" dirty="0" smtClean="0">
              <a:solidFill>
                <a:schemeClr val="accent4">
                  <a:lumMod val="50000"/>
                </a:schemeClr>
              </a:solidFill>
            </a:rPr>
            <a:t/>
          </a:r>
          <a:br>
            <a:rPr lang="en-US" sz="1400" b="1" kern="1200" dirty="0" smtClean="0">
              <a:solidFill>
                <a:schemeClr val="accent4">
                  <a:lumMod val="50000"/>
                </a:schemeClr>
              </a:solidFill>
            </a:rPr>
          </a:br>
          <a:r>
            <a:rPr lang="bg-BG" sz="1400" b="1" kern="1200" dirty="0" smtClean="0">
              <a:solidFill>
                <a:schemeClr val="accent4">
                  <a:lumMod val="50000"/>
                </a:schemeClr>
              </a:solidFill>
            </a:rPr>
            <a:t>(30 млн. евро)</a:t>
          </a:r>
          <a:endParaRPr lang="bg-BG" sz="1400" b="1" kern="1200" dirty="0">
            <a:solidFill>
              <a:schemeClr val="accent4">
                <a:lumMod val="50000"/>
              </a:schemeClr>
            </a:solidFill>
          </a:endParaRPr>
        </a:p>
      </dsp:txBody>
      <dsp:txXfrm>
        <a:off x="187559" y="3735840"/>
        <a:ext cx="2135791" cy="1581667"/>
      </dsp:txXfrm>
    </dsp:sp>
    <dsp:sp modelId="{780E5E1A-E5BB-4863-B4D3-E383B1D912FC}">
      <dsp:nvSpPr>
        <dsp:cNvPr id="0" name=""/>
        <dsp:cNvSpPr/>
      </dsp:nvSpPr>
      <dsp:spPr>
        <a:xfrm>
          <a:off x="2807732" y="672580"/>
          <a:ext cx="2632762" cy="4899102"/>
        </a:xfrm>
        <a:prstGeom prst="roundRect">
          <a:avLst>
            <a:gd name="adj" fmla="val 10000"/>
          </a:avLst>
        </a:prstGeom>
        <a:solidFill>
          <a:schemeClr val="accent2">
            <a:lumMod val="40000"/>
            <a:lumOff val="60000"/>
            <a:alpha val="60000"/>
          </a:schemeClr>
        </a:solidFill>
        <a:ln>
          <a:noFill/>
        </a:ln>
        <a:effectLst/>
        <a:scene3d>
          <a:camera prst="orthographicFront"/>
          <a:lightRig rig="glow" dir="t"/>
        </a:scene3d>
        <a:sp3d prstMaterial="metal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rgbClr val="002060"/>
              </a:solidFill>
            </a:rPr>
            <a:t>Приоритетна ос 2: </a:t>
          </a:r>
          <a:br>
            <a:rPr lang="ru-RU" sz="1400" b="1" kern="1200" dirty="0" smtClean="0">
              <a:solidFill>
                <a:srgbClr val="002060"/>
              </a:solidFill>
            </a:rPr>
          </a:br>
          <a:r>
            <a:rPr lang="ru-RU" sz="1400" b="1" kern="1200" dirty="0" smtClean="0">
              <a:solidFill>
                <a:srgbClr val="002060"/>
              </a:solidFill>
            </a:rPr>
            <a:t>Предприемачество и капацитет за растеж на МСП </a:t>
          </a:r>
          <a:endParaRPr lang="bg-BG" sz="1400" b="1" kern="1200" dirty="0">
            <a:solidFill>
              <a:srgbClr val="002060"/>
            </a:solidFill>
          </a:endParaRPr>
        </a:p>
      </dsp:txBody>
      <dsp:txXfrm>
        <a:off x="2807732" y="672580"/>
        <a:ext cx="2632762" cy="1469730"/>
      </dsp:txXfrm>
    </dsp:sp>
    <dsp:sp modelId="{B295341F-628E-446E-82F6-901710047622}">
      <dsp:nvSpPr>
        <dsp:cNvPr id="0" name=""/>
        <dsp:cNvSpPr/>
      </dsp:nvSpPr>
      <dsp:spPr>
        <a:xfrm flipH="1">
          <a:off x="3025771" y="1710008"/>
          <a:ext cx="2234207" cy="632193"/>
        </a:xfrm>
        <a:prstGeom prst="roundRect">
          <a:avLst>
            <a:gd name="adj" fmla="val 10000"/>
          </a:avLst>
        </a:prstGeom>
        <a:gradFill flip="none" rotWithShape="1">
          <a:gsLst>
            <a:gs pos="0">
              <a:schemeClr val="accent2">
                <a:lumMod val="60000"/>
                <a:lumOff val="40000"/>
              </a:schemeClr>
            </a:gs>
            <a:gs pos="64999">
              <a:srgbClr val="F0EBD5"/>
            </a:gs>
            <a:gs pos="100000">
              <a:srgbClr val="D1C39F"/>
            </a:gs>
          </a:gsLst>
          <a:lin ang="8100000" scaled="1"/>
          <a:tileRect/>
        </a:gradFill>
        <a:ln cmpd="dbl">
          <a:gradFill flip="none" rotWithShape="1">
            <a:gsLst>
              <a:gs pos="4000">
                <a:schemeClr val="accent2">
                  <a:lumMod val="75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  <a:tileRect/>
          </a:gradFill>
        </a:ln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orthographicFront"/>
          <a:lightRig rig="glow" dir="t"/>
        </a:scene3d>
        <a:sp3d prstMaterial="plastic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1">
          <a:noAutofit/>
          <a:sp3d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1200" b="1" kern="1200" spc="0" dirty="0" smtClean="0">
              <a:solidFill>
                <a:srgbClr val="002060"/>
              </a:solidFill>
              <a:effectLst/>
            </a:rPr>
            <a:t>Фонд за </a:t>
          </a:r>
          <a:r>
            <a:rPr lang="bg-BG" sz="1200" b="1" kern="1200" noProof="1" smtClean="0">
              <a:solidFill>
                <a:srgbClr val="002060"/>
              </a:solidFill>
            </a:rPr>
            <a:t>начално финансиране </a:t>
          </a:r>
          <a:r>
            <a:rPr lang="en-US" sz="1200" b="1" kern="1200" noProof="1" smtClean="0">
              <a:solidFill>
                <a:srgbClr val="002060"/>
              </a:solidFill>
            </a:rPr>
            <a:t/>
          </a:r>
          <a:br>
            <a:rPr lang="en-US" sz="1200" b="1" kern="1200" noProof="1" smtClean="0">
              <a:solidFill>
                <a:srgbClr val="002060"/>
              </a:solidFill>
            </a:rPr>
          </a:br>
          <a:r>
            <a:rPr lang="bg-BG" sz="1200" b="1" kern="1200" spc="0" dirty="0" smtClean="0">
              <a:solidFill>
                <a:srgbClr val="002060"/>
              </a:solidFill>
              <a:effectLst/>
            </a:rPr>
            <a:t>(</a:t>
          </a:r>
          <a:r>
            <a:rPr lang="en-US" sz="1200" b="1" kern="1200" spc="0" dirty="0" smtClean="0">
              <a:solidFill>
                <a:srgbClr val="002060"/>
              </a:solidFill>
              <a:effectLst/>
            </a:rPr>
            <a:t>55</a:t>
          </a:r>
          <a:r>
            <a:rPr lang="bg-BG" sz="1200" b="1" kern="1200" spc="0" dirty="0" smtClean="0">
              <a:solidFill>
                <a:srgbClr val="002060"/>
              </a:solidFill>
              <a:effectLst/>
            </a:rPr>
            <a:t> млн. евро)</a:t>
          </a:r>
          <a:endParaRPr lang="bg-BG" sz="1200" b="1" kern="1200" spc="0" dirty="0">
            <a:solidFill>
              <a:srgbClr val="002060"/>
            </a:solidFill>
            <a:effectLst/>
          </a:endParaRPr>
        </a:p>
      </dsp:txBody>
      <dsp:txXfrm>
        <a:off x="3044287" y="1728524"/>
        <a:ext cx="2197175" cy="595161"/>
      </dsp:txXfrm>
    </dsp:sp>
    <dsp:sp modelId="{51A86443-BB7E-403B-8161-D0B5DF566FFB}">
      <dsp:nvSpPr>
        <dsp:cNvPr id="0" name=""/>
        <dsp:cNvSpPr/>
      </dsp:nvSpPr>
      <dsp:spPr>
        <a:xfrm flipH="1">
          <a:off x="3025771" y="2542339"/>
          <a:ext cx="2234207" cy="635461"/>
        </a:xfrm>
        <a:prstGeom prst="roundRect">
          <a:avLst>
            <a:gd name="adj" fmla="val 10000"/>
          </a:avLst>
        </a:prstGeom>
        <a:gradFill flip="none" rotWithShape="1">
          <a:gsLst>
            <a:gs pos="0">
              <a:schemeClr val="accent2">
                <a:lumMod val="60000"/>
                <a:lumOff val="40000"/>
              </a:schemeClr>
            </a:gs>
            <a:gs pos="65000">
              <a:srgbClr val="F0EBD5"/>
            </a:gs>
            <a:gs pos="98000">
              <a:srgbClr val="D1C39F"/>
            </a:gs>
          </a:gsLst>
          <a:lin ang="8100000" scaled="1"/>
          <a:tileRect/>
        </a:gradFill>
        <a:ln cmpd="dbl">
          <a:gradFill flip="none" rotWithShape="1">
            <a:gsLst>
              <a:gs pos="4000">
                <a:schemeClr val="accent2">
                  <a:lumMod val="75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  <a:tileRect/>
          </a:gradFill>
        </a:ln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orthographicFront"/>
          <a:lightRig rig="glow" dir="t"/>
        </a:scene3d>
        <a:sp3d prstMaterial="plastic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1">
          <a:noAutofit/>
          <a:sp3d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1200" b="1" kern="1200" dirty="0" smtClean="0">
              <a:solidFill>
                <a:srgbClr val="002060"/>
              </a:solidFill>
            </a:rPr>
            <a:t>Фонд за рисков капитал (25 млн. евро)</a:t>
          </a:r>
          <a:endParaRPr lang="bg-BG" sz="1200" b="1" kern="1200" spc="0" dirty="0">
            <a:solidFill>
              <a:srgbClr val="002060"/>
            </a:solidFill>
            <a:effectLst/>
          </a:endParaRPr>
        </a:p>
      </dsp:txBody>
      <dsp:txXfrm>
        <a:off x="3044383" y="2560951"/>
        <a:ext cx="2196983" cy="598237"/>
      </dsp:txXfrm>
    </dsp:sp>
    <dsp:sp modelId="{117F2DFD-4A8F-4225-8AE5-CD406A73EFD5}">
      <dsp:nvSpPr>
        <dsp:cNvPr id="0" name=""/>
        <dsp:cNvSpPr/>
      </dsp:nvSpPr>
      <dsp:spPr>
        <a:xfrm flipH="1">
          <a:off x="3025414" y="3359333"/>
          <a:ext cx="2234207" cy="672188"/>
        </a:xfrm>
        <a:prstGeom prst="roundRect">
          <a:avLst>
            <a:gd name="adj" fmla="val 10000"/>
          </a:avLst>
        </a:prstGeom>
        <a:gradFill flip="none" rotWithShape="1">
          <a:gsLst>
            <a:gs pos="0">
              <a:schemeClr val="accent2">
                <a:lumMod val="60000"/>
                <a:lumOff val="40000"/>
              </a:schemeClr>
            </a:gs>
            <a:gs pos="65000">
              <a:srgbClr val="F0EBD5"/>
            </a:gs>
            <a:gs pos="100000">
              <a:srgbClr val="D1C39F"/>
            </a:gs>
          </a:gsLst>
          <a:lin ang="8100000" scaled="1"/>
          <a:tileRect/>
        </a:gradFill>
        <a:ln cmpd="dbl">
          <a:gradFill flip="none" rotWithShape="1">
            <a:gsLst>
              <a:gs pos="4000">
                <a:schemeClr val="accent2">
                  <a:lumMod val="75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  <a:tileRect/>
          </a:gradFill>
        </a:ln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orthographicFront"/>
          <a:lightRig rig="glow" dir="t"/>
        </a:scene3d>
        <a:sp3d prstMaterial="plastic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1">
          <a:noAutofit/>
          <a:sp3d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1200" b="1" kern="1200" dirty="0" smtClean="0">
              <a:solidFill>
                <a:srgbClr val="002060"/>
              </a:solidFill>
            </a:rPr>
            <a:t>Фонд за съфинансиране/</a:t>
          </a:r>
          <a:r>
            <a:rPr lang="en-US" sz="1200" b="1" kern="1200" dirty="0" smtClean="0">
              <a:solidFill>
                <a:srgbClr val="002060"/>
              </a:solidFill>
            </a:rPr>
            <a:t/>
          </a:r>
          <a:br>
            <a:rPr lang="en-US" sz="1200" b="1" kern="1200" dirty="0" smtClean="0">
              <a:solidFill>
                <a:srgbClr val="002060"/>
              </a:solidFill>
            </a:rPr>
          </a:br>
          <a:r>
            <a:rPr lang="bg-BG" sz="1200" b="1" kern="1200" dirty="0" smtClean="0">
              <a:solidFill>
                <a:srgbClr val="002060"/>
              </a:solidFill>
            </a:rPr>
            <a:t>мецанин </a:t>
          </a:r>
          <a:r>
            <a:rPr lang="en-US" sz="1200" b="1" kern="1200" dirty="0" smtClean="0">
              <a:solidFill>
                <a:srgbClr val="002060"/>
              </a:solidFill>
            </a:rPr>
            <a:t/>
          </a:r>
          <a:br>
            <a:rPr lang="en-US" sz="1200" b="1" kern="1200" dirty="0" smtClean="0">
              <a:solidFill>
                <a:srgbClr val="002060"/>
              </a:solidFill>
            </a:rPr>
          </a:br>
          <a:r>
            <a:rPr lang="bg-BG" sz="1200" b="1" kern="1200" dirty="0" smtClean="0">
              <a:solidFill>
                <a:srgbClr val="002060"/>
              </a:solidFill>
            </a:rPr>
            <a:t>(40 млн. евро)</a:t>
          </a:r>
          <a:endParaRPr lang="bg-BG" sz="1200" b="1" kern="1200" spc="0" dirty="0">
            <a:solidFill>
              <a:srgbClr val="002060"/>
            </a:solidFill>
            <a:effectLst/>
          </a:endParaRPr>
        </a:p>
      </dsp:txBody>
      <dsp:txXfrm>
        <a:off x="3045102" y="3379021"/>
        <a:ext cx="2194831" cy="632812"/>
      </dsp:txXfrm>
    </dsp:sp>
    <dsp:sp modelId="{EEFAA7AD-3912-491D-B216-164DFB383D15}">
      <dsp:nvSpPr>
        <dsp:cNvPr id="0" name=""/>
        <dsp:cNvSpPr/>
      </dsp:nvSpPr>
      <dsp:spPr>
        <a:xfrm flipH="1">
          <a:off x="3025414" y="4205505"/>
          <a:ext cx="2234207" cy="1050305"/>
        </a:xfrm>
        <a:prstGeom prst="roundRect">
          <a:avLst>
            <a:gd name="adj" fmla="val 10000"/>
          </a:avLst>
        </a:prstGeom>
        <a:gradFill flip="none" rotWithShape="1">
          <a:gsLst>
            <a:gs pos="0">
              <a:schemeClr val="accent2">
                <a:lumMod val="60000"/>
                <a:lumOff val="40000"/>
              </a:schemeClr>
            </a:gs>
            <a:gs pos="64999">
              <a:srgbClr val="F0EBD5"/>
            </a:gs>
            <a:gs pos="100000">
              <a:srgbClr val="D1C39F"/>
            </a:gs>
          </a:gsLst>
          <a:lin ang="8100000" scaled="1"/>
          <a:tileRect/>
        </a:gradFill>
        <a:ln cmpd="dbl">
          <a:gradFill flip="none" rotWithShape="1">
            <a:gsLst>
              <a:gs pos="4000">
                <a:schemeClr val="accent2">
                  <a:lumMod val="75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8100000" scaled="1"/>
            <a:tileRect/>
          </a:gradFill>
        </a:ln>
        <a:effectLst>
          <a:outerShdw blurRad="50800" dist="38100" dir="5400000" algn="t" rotWithShape="0">
            <a:prstClr val="black">
              <a:alpha val="40000"/>
            </a:prstClr>
          </a:outerShdw>
        </a:effectLst>
        <a:scene3d>
          <a:camera prst="orthographicFront"/>
          <a:lightRig rig="glow" dir="t"/>
        </a:scene3d>
        <a:sp3d prstMaterial="plastic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2860" rIns="30480" bIns="22860" numCol="1" spcCol="1270" anchor="ctr" anchorCtr="1">
          <a:noAutofit/>
          <a:sp3d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1200" b="1" kern="1200" dirty="0" smtClean="0">
              <a:solidFill>
                <a:srgbClr val="002060"/>
              </a:solidFill>
            </a:rPr>
            <a:t>Фонд за микрофинансиране чрез споделяне на риска </a:t>
          </a:r>
          <a:br>
            <a:rPr lang="bg-BG" sz="1200" b="1" kern="1200" dirty="0" smtClean="0">
              <a:solidFill>
                <a:srgbClr val="002060"/>
              </a:solidFill>
            </a:rPr>
          </a:br>
          <a:r>
            <a:rPr lang="bg-BG" sz="1200" b="1" kern="1200" dirty="0" smtClean="0">
              <a:solidFill>
                <a:srgbClr val="002060"/>
              </a:solidFill>
            </a:rPr>
            <a:t>(15 млн. евро)</a:t>
          </a:r>
          <a:endParaRPr lang="bg-BG" sz="1200" b="1" kern="1200" spc="0" dirty="0">
            <a:solidFill>
              <a:srgbClr val="002060"/>
            </a:solidFill>
            <a:effectLst/>
          </a:endParaRPr>
        </a:p>
      </dsp:txBody>
      <dsp:txXfrm>
        <a:off x="3056176" y="4236267"/>
        <a:ext cx="2172683" cy="988781"/>
      </dsp:txXfrm>
    </dsp:sp>
    <dsp:sp modelId="{552F29C2-F82B-483E-A867-FD611756F8D4}">
      <dsp:nvSpPr>
        <dsp:cNvPr id="0" name=""/>
        <dsp:cNvSpPr/>
      </dsp:nvSpPr>
      <dsp:spPr>
        <a:xfrm>
          <a:off x="5615489" y="673061"/>
          <a:ext cx="2565401" cy="4899102"/>
        </a:xfrm>
        <a:prstGeom prst="roundRect">
          <a:avLst>
            <a:gd name="adj" fmla="val 10000"/>
          </a:avLst>
        </a:prstGeom>
        <a:solidFill>
          <a:schemeClr val="accent6">
            <a:lumMod val="40000"/>
            <a:lumOff val="60000"/>
            <a:alpha val="98000"/>
          </a:schemeClr>
        </a:solidFill>
        <a:ln>
          <a:noFill/>
        </a:ln>
        <a:effectLst/>
        <a:scene3d>
          <a:camera prst="orthographicFront"/>
          <a:lightRig rig="glow" dir="t"/>
        </a:scene3d>
        <a:sp3d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chemeClr val="accent6">
                  <a:lumMod val="50000"/>
                </a:schemeClr>
              </a:solidFill>
            </a:rPr>
            <a:t>Приоритетна ос 3: </a:t>
          </a:r>
          <a:br>
            <a:rPr lang="ru-RU" sz="1400" b="1" kern="1200" dirty="0" smtClean="0">
              <a:solidFill>
                <a:schemeClr val="accent6">
                  <a:lumMod val="50000"/>
                </a:schemeClr>
              </a:solidFill>
            </a:rPr>
          </a:br>
          <a:r>
            <a:rPr lang="ru-RU" sz="1400" b="1" kern="1200" dirty="0" smtClean="0">
              <a:solidFill>
                <a:schemeClr val="accent6">
                  <a:lumMod val="50000"/>
                </a:schemeClr>
              </a:solidFill>
            </a:rPr>
            <a:t>Енергийна и ресурсна </a:t>
          </a:r>
          <a:r>
            <a:rPr lang="bg-BG" sz="1400" b="1" kern="1200" noProof="0" dirty="0" smtClean="0">
              <a:solidFill>
                <a:schemeClr val="accent6">
                  <a:lumMod val="50000"/>
                </a:schemeClr>
              </a:solidFill>
            </a:rPr>
            <a:t>ефективност</a:t>
          </a:r>
          <a:endParaRPr lang="bg-BG" sz="1400" b="1" kern="1200" noProof="0" dirty="0">
            <a:solidFill>
              <a:schemeClr val="accent6">
                <a:lumMod val="50000"/>
              </a:schemeClr>
            </a:solidFill>
          </a:endParaRPr>
        </a:p>
      </dsp:txBody>
      <dsp:txXfrm>
        <a:off x="5615489" y="673061"/>
        <a:ext cx="2565401" cy="1469730"/>
      </dsp:txXfrm>
    </dsp:sp>
    <dsp:sp modelId="{F68CEF1C-BC21-4641-AD54-6E4B603F5E03}">
      <dsp:nvSpPr>
        <dsp:cNvPr id="0" name=""/>
        <dsp:cNvSpPr/>
      </dsp:nvSpPr>
      <dsp:spPr>
        <a:xfrm>
          <a:off x="5856887" y="1729096"/>
          <a:ext cx="2054733" cy="3618506"/>
        </a:xfrm>
        <a:prstGeom prst="roundRect">
          <a:avLst>
            <a:gd name="adj" fmla="val 10000"/>
          </a:avLst>
        </a:prstGeom>
        <a:gradFill flip="none" rotWithShape="1">
          <a:gsLst>
            <a:gs pos="0">
              <a:schemeClr val="accent6">
                <a:lumMod val="60000"/>
                <a:lumOff val="40000"/>
              </a:schemeClr>
            </a:gs>
            <a:gs pos="64999">
              <a:srgbClr val="F0EBD5"/>
            </a:gs>
            <a:gs pos="100000">
              <a:srgbClr val="D1C39F"/>
            </a:gs>
          </a:gsLst>
          <a:lin ang="2700000" scaled="0"/>
          <a:tileRect/>
        </a:gradFill>
        <a:ln>
          <a:gradFill flip="none" rotWithShape="1">
            <a:gsLst>
              <a:gs pos="0">
                <a:schemeClr val="accent6">
                  <a:lumMod val="75000"/>
                </a:schemeClr>
              </a:gs>
              <a:gs pos="28000">
                <a:schemeClr val="accent6">
                  <a:lumMod val="5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2700000" scaled="1"/>
            <a:tileRect/>
          </a:gradFill>
        </a:ln>
        <a:effectLst/>
        <a:scene3d>
          <a:camera prst="orthographicFront"/>
          <a:lightRig rig="glow" dir="t"/>
        </a:scene3d>
        <a:sp3d prstMaterial="plastic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26670" rIns="3556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bg-BG" sz="1400" b="1" kern="1200" noProof="0" dirty="0" smtClean="0">
              <a:solidFill>
                <a:schemeClr val="accent6">
                  <a:lumMod val="50000"/>
                </a:schemeClr>
              </a:solidFill>
            </a:rPr>
            <a:t>Гаранции</a:t>
          </a:r>
          <a:r>
            <a:rPr lang="ru-RU" sz="1400" b="1" kern="1200" dirty="0" smtClean="0">
              <a:solidFill>
                <a:schemeClr val="accent6">
                  <a:lumMod val="50000"/>
                </a:schemeClr>
              </a:solidFill>
            </a:rPr>
            <a:t>, </a:t>
          </a:r>
          <a:r>
            <a:rPr lang="bg-BG" sz="1400" b="1" kern="1200" noProof="1" smtClean="0">
              <a:solidFill>
                <a:schemeClr val="accent6">
                  <a:lumMod val="50000"/>
                </a:schemeClr>
              </a:solidFill>
            </a:rPr>
            <a:t>покриващи</a:t>
          </a:r>
          <a:r>
            <a:rPr lang="ru-RU" sz="1400" b="1" kern="1200" dirty="0" smtClean="0">
              <a:solidFill>
                <a:schemeClr val="accent6">
                  <a:lumMod val="50000"/>
                </a:schemeClr>
              </a:solidFill>
            </a:rPr>
            <a:t> загуби </a:t>
          </a:r>
          <a:r>
            <a:rPr lang="bg-BG" sz="1400" b="1" kern="1200" noProof="0" dirty="0" smtClean="0">
              <a:solidFill>
                <a:schemeClr val="accent6">
                  <a:lumMod val="50000"/>
                </a:schemeClr>
              </a:solidFill>
            </a:rPr>
            <a:t>по портфейл от заеми </a:t>
          </a:r>
          <a:r>
            <a:rPr lang="en-US" sz="1400" b="1" kern="1200" noProof="0" dirty="0" smtClean="0">
              <a:solidFill>
                <a:schemeClr val="accent6">
                  <a:lumMod val="50000"/>
                </a:schemeClr>
              </a:solidFill>
            </a:rPr>
            <a:t/>
          </a:r>
          <a:br>
            <a:rPr lang="en-US" sz="1400" b="1" kern="1200" noProof="0" dirty="0" smtClean="0">
              <a:solidFill>
                <a:schemeClr val="accent6">
                  <a:lumMod val="50000"/>
                </a:schemeClr>
              </a:solidFill>
            </a:rPr>
          </a:br>
          <a:r>
            <a:rPr lang="ru-RU" sz="1400" b="1" kern="1200" dirty="0" smtClean="0">
              <a:solidFill>
                <a:schemeClr val="accent6">
                  <a:lumMod val="50000"/>
                </a:schemeClr>
              </a:solidFill>
            </a:rPr>
            <a:t>(40 млн. евро)</a:t>
          </a:r>
          <a:endParaRPr lang="bg-BG" sz="1400" b="1" kern="1200" dirty="0">
            <a:solidFill>
              <a:schemeClr val="accent6">
                <a:lumMod val="50000"/>
              </a:schemeClr>
            </a:solidFill>
          </a:endParaRPr>
        </a:p>
      </dsp:txBody>
      <dsp:txXfrm>
        <a:off x="5917068" y="1789277"/>
        <a:ext cx="1934371" cy="349814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2524</cdr:x>
      <cdr:y>0.45314</cdr:y>
    </cdr:from>
    <cdr:to>
      <cdr:x>0.55124</cdr:x>
      <cdr:y>0.61133</cdr:y>
    </cdr:to>
    <cdr:sp macro="" textlink="">
      <cdr:nvSpPr>
        <cdr:cNvPr id="2" name="Oval 1"/>
        <cdr:cNvSpPr>
          <a:spLocks xmlns:a="http://schemas.openxmlformats.org/drawingml/2006/main"/>
        </cdr:cNvSpPr>
      </cdr:nvSpPr>
      <cdr:spPr>
        <a:xfrm xmlns:a="http://schemas.openxmlformats.org/drawingml/2006/main">
          <a:off x="1944216" y="1239802"/>
          <a:ext cx="576051" cy="432788"/>
        </a:xfrm>
        <a:prstGeom xmlns:a="http://schemas.openxmlformats.org/drawingml/2006/main" prst="ellipse">
          <a:avLst/>
        </a:prstGeom>
        <a:ln xmlns:a="http://schemas.openxmlformats.org/drawingml/2006/main">
          <a:noFill/>
        </a:ln>
      </cdr:spPr>
      <cdr:style>
        <a:lnRef xmlns:a="http://schemas.openxmlformats.org/drawingml/2006/main" idx="2">
          <a:schemeClr val="accent2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lIns="0" tIns="0" rIns="0" bIns="0">
          <a:spAutoFit/>
        </a:bodyPr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000" b="1" dirty="0" smtClean="0">
              <a:solidFill>
                <a:srgbClr val="00B050"/>
              </a:solidFill>
            </a:rPr>
            <a:t>EUR </a:t>
          </a:r>
          <a:r>
            <a:rPr lang="bg-BG" sz="1000" b="1" dirty="0" smtClean="0">
              <a:solidFill>
                <a:srgbClr val="00B050"/>
              </a:solidFill>
            </a:rPr>
            <a:t>6</a:t>
          </a:r>
          <a:r>
            <a:rPr lang="en-US" sz="1000" b="1" dirty="0" smtClean="0">
              <a:solidFill>
                <a:srgbClr val="00B050"/>
              </a:solidFill>
            </a:rPr>
            <a:t>.</a:t>
          </a:r>
          <a:r>
            <a:rPr lang="bg-BG" sz="1000" b="1" dirty="0" smtClean="0">
              <a:solidFill>
                <a:srgbClr val="00B050"/>
              </a:solidFill>
            </a:rPr>
            <a:t>5 </a:t>
          </a:r>
          <a:r>
            <a:rPr lang="en-US" sz="1000" b="1" dirty="0" smtClean="0">
              <a:solidFill>
                <a:srgbClr val="00B050"/>
              </a:solidFill>
            </a:rPr>
            <a:t>m</a:t>
          </a:r>
          <a:endParaRPr lang="en-US" sz="1000" b="1" dirty="0">
            <a:solidFill>
              <a:srgbClr val="00B050"/>
            </a:solidFill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3465</cdr:x>
      <cdr:y>0.47271</cdr:y>
    </cdr:from>
    <cdr:to>
      <cdr:x>0.47249</cdr:x>
      <cdr:y>0.63048</cdr:y>
    </cdr:to>
    <cdr:sp macro="" textlink="">
      <cdr:nvSpPr>
        <cdr:cNvPr id="2" name="Oval 1"/>
        <cdr:cNvSpPr>
          <a:spLocks xmlns:a="http://schemas.openxmlformats.org/drawingml/2006/main"/>
        </cdr:cNvSpPr>
      </cdr:nvSpPr>
      <cdr:spPr>
        <a:xfrm xmlns:a="http://schemas.openxmlformats.org/drawingml/2006/main">
          <a:off x="1584176" y="1225261"/>
          <a:ext cx="576026" cy="408940"/>
        </a:xfrm>
        <a:prstGeom xmlns:a="http://schemas.openxmlformats.org/drawingml/2006/main" prst="ellipse">
          <a:avLst/>
        </a:prstGeom>
        <a:ln xmlns:a="http://schemas.openxmlformats.org/drawingml/2006/main">
          <a:noFill/>
        </a:ln>
      </cdr:spPr>
      <cdr:style>
        <a:lnRef xmlns:a="http://schemas.openxmlformats.org/drawingml/2006/main" idx="2">
          <a:schemeClr val="accent2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lIns="0" tIns="0" rIns="0" bIns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000" b="1" dirty="0" smtClean="0">
              <a:solidFill>
                <a:srgbClr val="00B050"/>
              </a:solidFill>
            </a:rPr>
            <a:t>EUR </a:t>
          </a:r>
          <a:r>
            <a:rPr lang="bg-BG" sz="1000" b="1" dirty="0" smtClean="0">
              <a:solidFill>
                <a:srgbClr val="00B050"/>
              </a:solidFill>
            </a:rPr>
            <a:t>15,9 </a:t>
          </a:r>
          <a:r>
            <a:rPr lang="en-US" sz="1000" b="1" dirty="0" smtClean="0">
              <a:solidFill>
                <a:srgbClr val="00B050"/>
              </a:solidFill>
            </a:rPr>
            <a:t>m</a:t>
          </a:r>
          <a:endParaRPr lang="en-US" sz="1000" b="1" dirty="0">
            <a:solidFill>
              <a:srgbClr val="00B050"/>
            </a:solidFill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43891</cdr:x>
      <cdr:y>0.4721</cdr:y>
    </cdr:from>
    <cdr:to>
      <cdr:x>0.56491</cdr:x>
      <cdr:y>0.62986</cdr:y>
    </cdr:to>
    <cdr:sp macro="" textlink="">
      <cdr:nvSpPr>
        <cdr:cNvPr id="2" name="Oval 1"/>
        <cdr:cNvSpPr>
          <a:spLocks xmlns:a="http://schemas.openxmlformats.org/drawingml/2006/main"/>
        </cdr:cNvSpPr>
      </cdr:nvSpPr>
      <cdr:spPr>
        <a:xfrm xmlns:a="http://schemas.openxmlformats.org/drawingml/2006/main">
          <a:off x="2006710" y="1295053"/>
          <a:ext cx="576072" cy="432792"/>
        </a:xfrm>
        <a:prstGeom xmlns:a="http://schemas.openxmlformats.org/drawingml/2006/main" prst="ellipse">
          <a:avLst/>
        </a:prstGeom>
        <a:ln xmlns:a="http://schemas.openxmlformats.org/drawingml/2006/main">
          <a:noFill/>
        </a:ln>
      </cdr:spPr>
      <cdr:style>
        <a:lnRef xmlns:a="http://schemas.openxmlformats.org/drawingml/2006/main" idx="2">
          <a:schemeClr val="accent2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lIns="0" tIns="0" rIns="0" bIns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000" b="1" dirty="0" smtClean="0">
              <a:solidFill>
                <a:srgbClr val="00B050"/>
              </a:solidFill>
            </a:rPr>
            <a:t>EUR </a:t>
          </a:r>
          <a:r>
            <a:rPr lang="bg-BG" sz="1000" b="1" dirty="0" smtClean="0">
              <a:solidFill>
                <a:srgbClr val="00B050"/>
              </a:solidFill>
            </a:rPr>
            <a:t>30,2 </a:t>
          </a:r>
          <a:r>
            <a:rPr lang="en-US" sz="1000" b="1" dirty="0" smtClean="0">
              <a:solidFill>
                <a:srgbClr val="00B050"/>
              </a:solidFill>
            </a:rPr>
            <a:t>m</a:t>
          </a:r>
          <a:endParaRPr lang="en-US" sz="1000" b="1" dirty="0">
            <a:solidFill>
              <a:srgbClr val="00B050"/>
            </a:solidFill>
          </a:endParaRP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44099</cdr:x>
      <cdr:y>0.46818</cdr:y>
    </cdr:from>
    <cdr:to>
      <cdr:x>0.57487</cdr:x>
      <cdr:y>0.62595</cdr:y>
    </cdr:to>
    <cdr:sp macro="" textlink="">
      <cdr:nvSpPr>
        <cdr:cNvPr id="2" name="Oval 1"/>
        <cdr:cNvSpPr>
          <a:spLocks xmlns:a="http://schemas.openxmlformats.org/drawingml/2006/main"/>
        </cdr:cNvSpPr>
      </cdr:nvSpPr>
      <cdr:spPr>
        <a:xfrm xmlns:a="http://schemas.openxmlformats.org/drawingml/2006/main">
          <a:off x="2016224" y="1284312"/>
          <a:ext cx="612069" cy="432792"/>
        </a:xfrm>
        <a:prstGeom xmlns:a="http://schemas.openxmlformats.org/drawingml/2006/main" prst="ellipse">
          <a:avLst/>
        </a:prstGeom>
        <a:ln xmlns:a="http://schemas.openxmlformats.org/drawingml/2006/main">
          <a:noFill/>
        </a:ln>
      </cdr:spPr>
      <cdr:style>
        <a:lnRef xmlns:a="http://schemas.openxmlformats.org/drawingml/2006/main" idx="2">
          <a:schemeClr val="accent2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lIns="0" tIns="0" rIns="0" bIns="0">
          <a:spAutoFit/>
        </a:bodyPr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000" b="1" dirty="0" smtClean="0">
              <a:solidFill>
                <a:srgbClr val="00B050"/>
              </a:solidFill>
            </a:rPr>
            <a:t>EUR </a:t>
          </a:r>
          <a:r>
            <a:rPr lang="bg-BG" sz="1000" b="1" dirty="0" smtClean="0">
              <a:solidFill>
                <a:srgbClr val="00B050"/>
              </a:solidFill>
            </a:rPr>
            <a:t>19,3 </a:t>
          </a:r>
          <a:r>
            <a:rPr lang="en-US" sz="1000" b="1" dirty="0" smtClean="0">
              <a:solidFill>
                <a:srgbClr val="00B050"/>
              </a:solidFill>
            </a:rPr>
            <a:t>m</a:t>
          </a:r>
          <a:endParaRPr lang="en-US" sz="1000" b="1" dirty="0">
            <a:solidFill>
              <a:srgbClr val="00B050"/>
            </a:solidFill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2547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bg-BG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3852" y="0"/>
            <a:ext cx="2972547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BFC3B4-1350-4F0A-AA49-9B55E7CA1B0A}" type="datetimeFigureOut">
              <a:rPr lang="bg-BG" smtClean="0"/>
              <a:pPr/>
              <a:t>5.12.2017 г.</a:t>
            </a:fld>
            <a:endParaRPr lang="bg-BG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164"/>
            <a:ext cx="2972547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bg-BG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3852" y="9428164"/>
            <a:ext cx="2972547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C4A2884-C3FF-456E-B4DE-0484B6221D06}" type="slidenum">
              <a:rPr lang="bg-BG" smtClean="0"/>
              <a:pPr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15797803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963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dirty="0"/>
            </a:lvl1pPr>
          </a:lstStyle>
          <a:p>
            <a:pPr>
              <a:defRPr/>
            </a:pPr>
            <a:endParaRPr lang="bg-BG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4" y="0"/>
            <a:ext cx="2971800" cy="4963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dirty="0"/>
            </a:lvl1pPr>
          </a:lstStyle>
          <a:p>
            <a:pPr>
              <a:defRPr/>
            </a:pPr>
            <a:endParaRPr lang="bg-BG" dirty="0"/>
          </a:p>
        </p:txBody>
      </p:sp>
      <p:sp>
        <p:nvSpPr>
          <p:cNvPr id="1946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47738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1" y="4715154"/>
            <a:ext cx="5486400" cy="44669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bg-BG" noProof="0" smtClean="0"/>
              <a:t>Click to edit Master text styles</a:t>
            </a:r>
          </a:p>
          <a:p>
            <a:pPr lvl="1"/>
            <a:r>
              <a:rPr lang="bg-BG" noProof="0" smtClean="0"/>
              <a:t>Second level</a:t>
            </a:r>
          </a:p>
          <a:p>
            <a:pPr lvl="2"/>
            <a:r>
              <a:rPr lang="bg-BG" noProof="0" smtClean="0"/>
              <a:t>Third level</a:t>
            </a:r>
          </a:p>
          <a:p>
            <a:pPr lvl="3"/>
            <a:r>
              <a:rPr lang="bg-BG" noProof="0" smtClean="0"/>
              <a:t>Fourth level</a:t>
            </a:r>
          </a:p>
          <a:p>
            <a:pPr lvl="4"/>
            <a:r>
              <a:rPr lang="bg-BG" noProof="0" smtClean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583"/>
            <a:ext cx="2971800" cy="4963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dirty="0"/>
            </a:lvl1pPr>
          </a:lstStyle>
          <a:p>
            <a:pPr>
              <a:defRPr/>
            </a:pPr>
            <a:endParaRPr lang="bg-BG" dirty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4" y="9428583"/>
            <a:ext cx="2971800" cy="4963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4C512CBB-8246-42B3-BA18-F6EB28FE5AB4}" type="slidenum">
              <a:rPr lang="bg-BG"/>
              <a:pPr>
                <a:defRPr/>
              </a:pPr>
              <a:t>‹#›</a:t>
            </a:fld>
            <a:endParaRPr lang="bg-BG" dirty="0"/>
          </a:p>
        </p:txBody>
      </p:sp>
    </p:spTree>
    <p:extLst>
      <p:ext uri="{BB962C8B-B14F-4D97-AF65-F5344CB8AC3E}">
        <p14:creationId xmlns:p14="http://schemas.microsoft.com/office/powerpoint/2010/main" val="75313867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093527-8418-4418-887A-53D68217BD7E}" type="slidenum">
              <a:rPr lang="bg-BG" smtClean="0">
                <a:solidFill>
                  <a:prstClr val="black"/>
                </a:solidFill>
              </a:rPr>
              <a:pPr/>
              <a:t>1</a:t>
            </a:fld>
            <a:endParaRPr lang="bg-BG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56556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 eaLnBrk="1" fontAlgn="ctr" latinLnBrk="0" hangingPunct="1"/>
            <a:r>
              <a:rPr lang="bg-BG" dirty="0" smtClean="0"/>
              <a:t>Общо</a:t>
            </a:r>
            <a:r>
              <a:rPr lang="bg-BG" baseline="0" dirty="0" smtClean="0"/>
              <a:t> подадени проектни предложения: </a:t>
            </a:r>
            <a:r>
              <a:rPr lang="bg-BG" sz="1200" b="1" i="0" u="none" strike="noStrike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Общо:</a:t>
            </a:r>
            <a:r>
              <a:rPr lang="en-US" sz="1200" b="1" i="0" u="none" strike="noStrike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1163</a:t>
            </a:r>
            <a:r>
              <a:rPr lang="bg-BG" sz="1200" b="1" i="0" u="none" strike="noStrike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за 426 310 273.57 лв. Цифрата не е актуална</a:t>
            </a:r>
            <a:r>
              <a:rPr lang="bg-BG" sz="1200" b="1" i="0" u="none" strike="noStrike" kern="1200" baseline="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към 30.11.2017 г.</a:t>
            </a:r>
            <a:endParaRPr lang="bg-BG" sz="1200" b="0" i="0" u="none" strike="noStrike" kern="1200" dirty="0" smtClean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endParaRPr lang="bg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C512CBB-8246-42B3-BA18-F6EB28FE5AB4}" type="slidenum">
              <a:rPr lang="bg-BG" smtClean="0"/>
              <a:pPr>
                <a:defRPr/>
              </a:pPr>
              <a:t>3</a:t>
            </a:fld>
            <a:endParaRPr lang="bg-BG" dirty="0"/>
          </a:p>
        </p:txBody>
      </p:sp>
    </p:spTree>
    <p:extLst>
      <p:ext uri="{BB962C8B-B14F-4D97-AF65-F5344CB8AC3E}">
        <p14:creationId xmlns:p14="http://schemas.microsoft.com/office/powerpoint/2010/main" val="41033618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9E1A57-C378-4D9C-8BC8-9C4A20E431C1}" type="slidenum">
              <a:rPr lang="bg-BG" smtClean="0"/>
              <a:pPr/>
              <a:t>5</a:t>
            </a:fld>
            <a:endParaRPr lang="bg-BG" dirty="0"/>
          </a:p>
        </p:txBody>
      </p:sp>
    </p:spTree>
    <p:extLst>
      <p:ext uri="{BB962C8B-B14F-4D97-AF65-F5344CB8AC3E}">
        <p14:creationId xmlns:p14="http://schemas.microsoft.com/office/powerpoint/2010/main" val="4434242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pPr marL="538163" lvl="2" algn="just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</a:pPr>
            <a:r>
              <a:rPr lang="bg-BG" sz="1900" kern="1200" dirty="0" smtClean="0">
                <a:solidFill>
                  <a:srgbClr val="2F5897">
                    <a:lumMod val="75000"/>
                  </a:srgbClr>
                </a:solidFill>
                <a:latin typeface="Arial" charset="0"/>
                <a:ea typeface="+mn-ea"/>
                <a:cs typeface="+mn-cs"/>
              </a:rPr>
              <a:t>Едно от предимствата за използването на финансовите инструменти пред грантове е </a:t>
            </a:r>
            <a:r>
              <a:rPr lang="bg-BG" sz="1900" b="1" kern="1200" dirty="0" smtClean="0">
                <a:solidFill>
                  <a:srgbClr val="2F5897">
                    <a:lumMod val="75000"/>
                  </a:srgbClr>
                </a:solidFill>
                <a:latin typeface="Arial" charset="0"/>
                <a:ea typeface="+mn-ea"/>
                <a:cs typeface="+mn-cs"/>
              </a:rPr>
              <a:t>револвиращият характер на предоставения капитал </a:t>
            </a:r>
            <a:r>
              <a:rPr lang="bg-BG" sz="1900" kern="1200" dirty="0" smtClean="0">
                <a:solidFill>
                  <a:srgbClr val="2F5897">
                    <a:lumMod val="75000"/>
                  </a:srgbClr>
                </a:solidFill>
                <a:latin typeface="Arial" charset="0"/>
                <a:ea typeface="+mn-ea"/>
                <a:cs typeface="+mn-cs"/>
              </a:rPr>
              <a:t>или т. нар. рециклиран ресурс (наследени средства) - представлява веднъж инвестираните и върнати обратно ресурси от финансовите инструменти, създадени в рамките на JEREMIE, които могат да се използват повторно до изчерпването им за същия тип дейности </a:t>
            </a:r>
          </a:p>
          <a:p>
            <a:pPr marL="538163" lvl="2" algn="just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</a:pPr>
            <a:r>
              <a:rPr lang="bg-BG" sz="1900" kern="1200" dirty="0" smtClean="0">
                <a:solidFill>
                  <a:srgbClr val="2F5897">
                    <a:lumMod val="75000"/>
                  </a:srgbClr>
                </a:solidFill>
                <a:latin typeface="Arial" charset="0"/>
                <a:ea typeface="+mn-ea"/>
                <a:cs typeface="+mn-cs"/>
              </a:rPr>
              <a:t>Важно е да се знае, че инвестициите с рециклиран ресурс вече </a:t>
            </a:r>
            <a:r>
              <a:rPr lang="bg-BG" sz="1900" b="1" kern="1200" dirty="0" smtClean="0">
                <a:solidFill>
                  <a:srgbClr val="2F5897">
                    <a:lumMod val="75000"/>
                  </a:srgbClr>
                </a:solidFill>
                <a:latin typeface="Arial" charset="0"/>
                <a:ea typeface="+mn-ea"/>
                <a:cs typeface="+mn-cs"/>
              </a:rPr>
              <a:t>не се считат вече за интервенция със средства от структурните фондове</a:t>
            </a:r>
            <a:r>
              <a:rPr lang="bg-BG" sz="1900" kern="1200" dirty="0" smtClean="0">
                <a:solidFill>
                  <a:srgbClr val="2F5897">
                    <a:lumMod val="75000"/>
                  </a:srgbClr>
                </a:solidFill>
                <a:latin typeface="Arial" charset="0"/>
                <a:ea typeface="+mn-ea"/>
                <a:cs typeface="+mn-cs"/>
              </a:rPr>
              <a:t> и не попадат под обхвата на правилата за прилагането им</a:t>
            </a:r>
          </a:p>
          <a:p>
            <a:endParaRPr lang="bg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C512CBB-8246-42B3-BA18-F6EB28FE5AB4}" type="slidenum">
              <a:rPr lang="bg-BG" smtClean="0"/>
              <a:pPr>
                <a:defRPr/>
              </a:pPr>
              <a:t>6</a:t>
            </a:fld>
            <a:endParaRPr lang="bg-BG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9E1A57-C378-4D9C-8BC8-9C4A20E431C1}" type="slidenum">
              <a:rPr lang="bg-BG" smtClean="0"/>
              <a:pPr/>
              <a:t>11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5294326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A8E92D-EB1F-4840-B4AA-FBCC74330564}" type="slidenum">
              <a:rPr lang="en-GB" smtClean="0"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84634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A8E92D-EB1F-4840-B4AA-FBCC74330564}" type="slidenum">
              <a:rPr lang="en-GB" smtClean="0"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52421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0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3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4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9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1.xml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1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1.xml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1.xml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1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icture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 descr="Picture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95"/>
          <a:stretch>
            <a:fillRect/>
          </a:stretch>
        </p:blipFill>
        <p:spPr bwMode="auto">
          <a:xfrm>
            <a:off x="0" y="1268413"/>
            <a:ext cx="9144000" cy="558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29969644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2699677673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7813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180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1676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05175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8803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2543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4310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00339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48822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844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689867265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21816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3670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68876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96960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557531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42244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59874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49790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80094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22309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1503392696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30658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5349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8584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65288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44351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732646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60025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61497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92432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45521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bg-BG" noProof="0" dirty="0" smtClean="0"/>
          </a:p>
        </p:txBody>
      </p:sp>
    </p:spTree>
    <p:extLst>
      <p:ext uri="{BB962C8B-B14F-4D97-AF65-F5344CB8AC3E}">
        <p14:creationId xmlns:p14="http://schemas.microsoft.com/office/powerpoint/2010/main" val="4022716403"/>
      </p:ext>
    </p:extLst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68825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8240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16610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82024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28436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92682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357584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1967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40914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64228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5.12.2017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64766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71517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43949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1361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06940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72008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74725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412215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99319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2333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5.12.2017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48919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19516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77788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74772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68398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73975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52005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4152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icture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 descr="Picture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95"/>
          <a:stretch>
            <a:fillRect/>
          </a:stretch>
        </p:blipFill>
        <p:spPr bwMode="auto">
          <a:xfrm>
            <a:off x="0" y="1268413"/>
            <a:ext cx="9144000" cy="558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02205199"/>
      </p:ext>
    </p:extLst>
  </p:cSld>
  <p:clrMapOvr>
    <a:masterClrMapping/>
  </p:clrMapOvr>
  <p:transition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891215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5.12.2017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91602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40351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26864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30290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71030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35462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89151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92080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97091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9108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5.12.2017 г.</a:t>
            </a:fld>
            <a:endParaRPr lang="bg-B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826578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44942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79563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59524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96120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83466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90647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56910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92605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62371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5.12.2017 г.</a:t>
            </a:fld>
            <a:endParaRPr lang="bg-BG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37174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450481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25917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82884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12490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67181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2452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3554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28193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30280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5.12.2017 г.</a:t>
            </a:fld>
            <a:endParaRPr lang="bg-BG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53553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4364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103284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8263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87760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56272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71659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1302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5561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64730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493527142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5.12.2017 г.</a:t>
            </a:fld>
            <a:endParaRPr lang="bg-BG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84548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8311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39235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402164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25711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4956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7774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90420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35805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50612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5.12.2017 г.</a:t>
            </a:fld>
            <a:endParaRPr lang="bg-B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81781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21006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67486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85446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787643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7116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96716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67188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46004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01578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5.12.2017 г.</a:t>
            </a:fld>
            <a:endParaRPr lang="bg-B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64753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74944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38322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78050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43809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871607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78047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2190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58704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45106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5.12.2017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16925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67982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14353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9949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2520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76811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icture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 descr="Picture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95"/>
          <a:stretch>
            <a:fillRect/>
          </a:stretch>
        </p:blipFill>
        <p:spPr bwMode="auto">
          <a:xfrm>
            <a:off x="0" y="1268413"/>
            <a:ext cx="9144000" cy="558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72107493"/>
      </p:ext>
    </p:extLst>
  </p:cSld>
  <p:clrMapOvr>
    <a:masterClrMapping/>
  </p:clrMapOvr>
  <p:transition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191560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82393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87458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5.12.2017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89083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8351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69774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8527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34178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4399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88419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37510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735933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5314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icture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 descr="Picture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95"/>
          <a:stretch>
            <a:fillRect/>
          </a:stretch>
        </p:blipFill>
        <p:spPr bwMode="auto">
          <a:xfrm>
            <a:off x="0" y="1268413"/>
            <a:ext cx="9144000" cy="558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29969644"/>
      </p:ext>
    </p:extLst>
  </p:cSld>
  <p:clrMapOvr>
    <a:masterClrMapping/>
  </p:clrMapOvr>
  <p:transition>
    <p:fade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57154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68039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06800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38106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77383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86016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35613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78998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29371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icture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 descr="Picture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95"/>
          <a:stretch>
            <a:fillRect/>
          </a:stretch>
        </p:blipFill>
        <p:spPr bwMode="auto">
          <a:xfrm>
            <a:off x="0" y="1268413"/>
            <a:ext cx="9144000" cy="558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12061438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451"/>
          <a:stretch/>
        </p:blipFill>
        <p:spPr>
          <a:xfrm>
            <a:off x="8401125" y="6076984"/>
            <a:ext cx="742876" cy="680259"/>
          </a:xfrm>
          <a:prstGeom prst="rect">
            <a:avLst/>
          </a:prstGeom>
        </p:spPr>
      </p:pic>
      <p:grpSp>
        <p:nvGrpSpPr>
          <p:cNvPr id="21" name="Group 20"/>
          <p:cNvGrpSpPr/>
          <p:nvPr userDrawn="1"/>
        </p:nvGrpSpPr>
        <p:grpSpPr>
          <a:xfrm>
            <a:off x="2491109" y="2085605"/>
            <a:ext cx="6249171" cy="3647651"/>
            <a:chOff x="2491109" y="2499919"/>
            <a:chExt cx="6249171" cy="3647651"/>
          </a:xfrm>
        </p:grpSpPr>
        <p:sp>
          <p:nvSpPr>
            <p:cNvPr id="10" name="Rectangle 9"/>
            <p:cNvSpPr/>
            <p:nvPr userDrawn="1"/>
          </p:nvSpPr>
          <p:spPr>
            <a:xfrm>
              <a:off x="2491109" y="3429000"/>
              <a:ext cx="6249171" cy="220001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330429" y="4869160"/>
              <a:ext cx="5066951" cy="93610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8084542" y="5834732"/>
              <a:ext cx="312838" cy="3128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8427442" y="5834732"/>
              <a:ext cx="312838" cy="3128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8230866" y="3055989"/>
              <a:ext cx="509414" cy="5094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8230866" y="2499919"/>
              <a:ext cx="509414" cy="50941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7674795" y="2499919"/>
              <a:ext cx="509414" cy="50941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8427442" y="5492426"/>
              <a:ext cx="312838" cy="3128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>
          <a:xfrm>
            <a:off x="0" y="6403145"/>
            <a:ext cx="8028384" cy="28526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18661" y="3208714"/>
            <a:ext cx="5812944" cy="1077218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GB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3447875" y="4543632"/>
            <a:ext cx="4818253" cy="430887"/>
          </a:xfrm>
        </p:spPr>
        <p:txBody>
          <a:bodyPr wrap="square">
            <a:spAutoFit/>
          </a:bodyPr>
          <a:lstStyle>
            <a:lvl1pPr marL="0" indent="0" algn="l">
              <a:buNone/>
              <a:defRPr sz="2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78859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430693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86316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60528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81410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54048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96627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55124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73548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02080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93934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at_Is_The_EIF_Divider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451"/>
          <a:stretch/>
        </p:blipFill>
        <p:spPr>
          <a:xfrm>
            <a:off x="8401125" y="6076984"/>
            <a:ext cx="742876" cy="680259"/>
          </a:xfrm>
          <a:prstGeom prst="rect">
            <a:avLst/>
          </a:prstGeom>
        </p:spPr>
      </p:pic>
      <p:grpSp>
        <p:nvGrpSpPr>
          <p:cNvPr id="21" name="Group 20"/>
          <p:cNvGrpSpPr/>
          <p:nvPr userDrawn="1"/>
        </p:nvGrpSpPr>
        <p:grpSpPr>
          <a:xfrm>
            <a:off x="2491109" y="2085605"/>
            <a:ext cx="6249171" cy="3647651"/>
            <a:chOff x="2491109" y="2499919"/>
            <a:chExt cx="6249171" cy="3647651"/>
          </a:xfrm>
        </p:grpSpPr>
        <p:sp>
          <p:nvSpPr>
            <p:cNvPr id="10" name="Rectangle 9"/>
            <p:cNvSpPr/>
            <p:nvPr userDrawn="1"/>
          </p:nvSpPr>
          <p:spPr>
            <a:xfrm>
              <a:off x="2491109" y="3429000"/>
              <a:ext cx="6249171" cy="220001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330429" y="4869160"/>
              <a:ext cx="5066951" cy="93610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8084542" y="5834732"/>
              <a:ext cx="312838" cy="3128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8427442" y="5834732"/>
              <a:ext cx="312838" cy="3128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8230866" y="3055989"/>
              <a:ext cx="509414" cy="5094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8230866" y="2499919"/>
              <a:ext cx="509414" cy="50941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7674795" y="2499919"/>
              <a:ext cx="509414" cy="50941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8427442" y="5492426"/>
              <a:ext cx="312838" cy="3128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>
          <a:xfrm>
            <a:off x="0" y="6403145"/>
            <a:ext cx="8028384" cy="28526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18661" y="3208714"/>
            <a:ext cx="5812944" cy="1077218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GB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3447875" y="4543632"/>
            <a:ext cx="4818253" cy="430887"/>
          </a:xfrm>
        </p:spPr>
        <p:txBody>
          <a:bodyPr wrap="square">
            <a:spAutoFit/>
          </a:bodyPr>
          <a:lstStyle>
            <a:lvl1pPr marL="0" indent="0" algn="l">
              <a:buNone/>
              <a:defRPr sz="2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61971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61538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icture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 descr="Picture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95"/>
          <a:stretch>
            <a:fillRect/>
          </a:stretch>
        </p:blipFill>
        <p:spPr bwMode="auto">
          <a:xfrm>
            <a:off x="0" y="1268413"/>
            <a:ext cx="9144000" cy="558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01724613"/>
      </p:ext>
    </p:extLst>
  </p:cSld>
  <p:clrMapOvr>
    <a:masterClrMapping/>
  </p:clrMapOvr>
  <p:transition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7677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85798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3940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14176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22384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38982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9162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6016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w_Do_We_Help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451"/>
          <a:stretch/>
        </p:blipFill>
        <p:spPr>
          <a:xfrm>
            <a:off x="8401125" y="6076984"/>
            <a:ext cx="742876" cy="680259"/>
          </a:xfrm>
          <a:prstGeom prst="rect">
            <a:avLst/>
          </a:prstGeom>
        </p:spPr>
      </p:pic>
      <p:grpSp>
        <p:nvGrpSpPr>
          <p:cNvPr id="21" name="Group 20"/>
          <p:cNvGrpSpPr/>
          <p:nvPr userDrawn="1"/>
        </p:nvGrpSpPr>
        <p:grpSpPr>
          <a:xfrm>
            <a:off x="2491109" y="2085605"/>
            <a:ext cx="6249171" cy="3647651"/>
            <a:chOff x="2491109" y="2499919"/>
            <a:chExt cx="6249171" cy="3647651"/>
          </a:xfrm>
        </p:grpSpPr>
        <p:sp>
          <p:nvSpPr>
            <p:cNvPr id="10" name="Rectangle 9"/>
            <p:cNvSpPr/>
            <p:nvPr userDrawn="1"/>
          </p:nvSpPr>
          <p:spPr>
            <a:xfrm>
              <a:off x="2491109" y="3429000"/>
              <a:ext cx="6249171" cy="220001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330429" y="4869160"/>
              <a:ext cx="5066951" cy="93610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8084542" y="5834732"/>
              <a:ext cx="312838" cy="3128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8427442" y="5834732"/>
              <a:ext cx="312838" cy="3128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8230866" y="3055989"/>
              <a:ext cx="509414" cy="5094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8230866" y="2499919"/>
              <a:ext cx="509414" cy="50941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7674795" y="2499919"/>
              <a:ext cx="509414" cy="50941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8427442" y="5492426"/>
              <a:ext cx="312838" cy="3128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>
          <a:xfrm>
            <a:off x="0" y="6403145"/>
            <a:ext cx="8028384" cy="28526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18661" y="3208714"/>
            <a:ext cx="5812944" cy="1077218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GB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3447875" y="4543632"/>
            <a:ext cx="4818253" cy="430887"/>
          </a:xfrm>
        </p:spPr>
        <p:txBody>
          <a:bodyPr wrap="square">
            <a:spAutoFit/>
          </a:bodyPr>
          <a:lstStyle>
            <a:lvl1pPr marL="0" indent="0" algn="l">
              <a:buNone/>
              <a:defRPr sz="2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5847879"/>
      </p:ext>
    </p:extLst>
  </p:cSld>
  <p:clrMapOvr>
    <a:masterClrMapping/>
  </p:clrMapOvr>
  <p:transition>
    <p:fade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4389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719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5744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icture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 descr="Picture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95"/>
          <a:stretch>
            <a:fillRect/>
          </a:stretch>
        </p:blipFill>
        <p:spPr bwMode="auto">
          <a:xfrm>
            <a:off x="0" y="1268413"/>
            <a:ext cx="9144000" cy="558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7413213"/>
      </p:ext>
    </p:extLst>
  </p:cSld>
  <p:clrMapOvr>
    <a:masterClrMapping/>
  </p:clrMapOvr>
  <p:transition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95868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7605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14939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8908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5791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95565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icro_Enterprises_Divider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451"/>
          <a:stretch/>
        </p:blipFill>
        <p:spPr>
          <a:xfrm>
            <a:off x="8401125" y="6076984"/>
            <a:ext cx="742876" cy="680259"/>
          </a:xfrm>
          <a:prstGeom prst="rect">
            <a:avLst/>
          </a:prstGeom>
        </p:spPr>
      </p:pic>
      <p:grpSp>
        <p:nvGrpSpPr>
          <p:cNvPr id="21" name="Group 20"/>
          <p:cNvGrpSpPr/>
          <p:nvPr userDrawn="1"/>
        </p:nvGrpSpPr>
        <p:grpSpPr>
          <a:xfrm>
            <a:off x="2491109" y="2085605"/>
            <a:ext cx="6249171" cy="3647651"/>
            <a:chOff x="2491109" y="2499919"/>
            <a:chExt cx="6249171" cy="3647651"/>
          </a:xfrm>
        </p:grpSpPr>
        <p:sp>
          <p:nvSpPr>
            <p:cNvPr id="10" name="Rectangle 9"/>
            <p:cNvSpPr/>
            <p:nvPr userDrawn="1"/>
          </p:nvSpPr>
          <p:spPr>
            <a:xfrm>
              <a:off x="2491109" y="3429000"/>
              <a:ext cx="6249171" cy="220001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330429" y="4869160"/>
              <a:ext cx="5066951" cy="93610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8084542" y="5834732"/>
              <a:ext cx="312838" cy="3128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8427442" y="5834732"/>
              <a:ext cx="312838" cy="3128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8230866" y="3055989"/>
              <a:ext cx="509414" cy="5094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8230866" y="2499919"/>
              <a:ext cx="509414" cy="50941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7674795" y="2499919"/>
              <a:ext cx="509414" cy="50941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8427442" y="5492426"/>
              <a:ext cx="312838" cy="3128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>
          <a:xfrm>
            <a:off x="0" y="6403145"/>
            <a:ext cx="8028384" cy="28526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18661" y="3208714"/>
            <a:ext cx="5812944" cy="1077218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GB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3447875" y="4543632"/>
            <a:ext cx="4818253" cy="430887"/>
          </a:xfrm>
        </p:spPr>
        <p:txBody>
          <a:bodyPr wrap="square">
            <a:spAutoFit/>
          </a:bodyPr>
          <a:lstStyle>
            <a:lvl1pPr marL="0" indent="0" algn="l">
              <a:buNone/>
              <a:defRPr sz="2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61426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23868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2442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5809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24445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8056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77006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5533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3634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38258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59788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99304562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at_Next_Divider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44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451"/>
          <a:stretch/>
        </p:blipFill>
        <p:spPr>
          <a:xfrm>
            <a:off x="8401125" y="6076984"/>
            <a:ext cx="742876" cy="680259"/>
          </a:xfrm>
          <a:prstGeom prst="rect">
            <a:avLst/>
          </a:prstGeom>
        </p:spPr>
      </p:pic>
      <p:grpSp>
        <p:nvGrpSpPr>
          <p:cNvPr id="21" name="Group 20"/>
          <p:cNvGrpSpPr/>
          <p:nvPr userDrawn="1"/>
        </p:nvGrpSpPr>
        <p:grpSpPr>
          <a:xfrm>
            <a:off x="2491109" y="2085605"/>
            <a:ext cx="6249171" cy="3647651"/>
            <a:chOff x="2491109" y="2499919"/>
            <a:chExt cx="6249171" cy="3647651"/>
          </a:xfrm>
        </p:grpSpPr>
        <p:sp>
          <p:nvSpPr>
            <p:cNvPr id="10" name="Rectangle 9"/>
            <p:cNvSpPr/>
            <p:nvPr userDrawn="1"/>
          </p:nvSpPr>
          <p:spPr>
            <a:xfrm>
              <a:off x="2491109" y="3429000"/>
              <a:ext cx="6249171" cy="220001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330429" y="4869160"/>
              <a:ext cx="5066951" cy="93610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8084542" y="5834732"/>
              <a:ext cx="312838" cy="3128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8427442" y="5834732"/>
              <a:ext cx="312838" cy="3128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8230866" y="3055989"/>
              <a:ext cx="509414" cy="5094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8230866" y="2499919"/>
              <a:ext cx="509414" cy="50941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7674795" y="2499919"/>
              <a:ext cx="509414" cy="50941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8427442" y="5492426"/>
              <a:ext cx="312838" cy="3128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>
          <a:xfrm>
            <a:off x="0" y="6403145"/>
            <a:ext cx="8028384" cy="28526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18661" y="3208714"/>
            <a:ext cx="5812944" cy="1077218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GB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3447875" y="4543632"/>
            <a:ext cx="4818253" cy="430887"/>
          </a:xfrm>
        </p:spPr>
        <p:txBody>
          <a:bodyPr wrap="square">
            <a:spAutoFit/>
          </a:bodyPr>
          <a:lstStyle>
            <a:lvl1pPr marL="0" indent="0" algn="l">
              <a:buNone/>
              <a:defRPr sz="2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14828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56703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38350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11395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07723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52239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98518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36868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0621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69038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0298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(x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268286" y="1608138"/>
            <a:ext cx="3456614" cy="4516437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0178693"/>
      </p:ext>
    </p:extLst>
  </p:cSld>
  <p:clrMapOvr>
    <a:masterClrMapping/>
  </p:clrMapOvr>
  <p:transition>
    <p:fade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54046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1325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0990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1293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56247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55369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7070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60026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2446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1012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(x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268286" y="1608137"/>
            <a:ext cx="3456614" cy="2208853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5259896" y="3909270"/>
            <a:ext cx="3465003" cy="2216893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8296179"/>
      </p:ext>
    </p:extLst>
  </p:cSld>
  <p:clrMapOvr>
    <a:masterClrMapping/>
  </p:clrMapOvr>
  <p:transition>
    <p:fade/>
  </p:transition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83051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5470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76506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28158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35869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67155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47186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72823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224816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64870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(x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259896" y="1608137"/>
            <a:ext cx="3465003" cy="1437067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5268913" y="3148617"/>
            <a:ext cx="3455986" cy="1437067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5268912" y="4689096"/>
            <a:ext cx="3455987" cy="1437067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7315653"/>
      </p:ext>
    </p:extLst>
  </p:cSld>
  <p:clrMapOvr>
    <a:masterClrMapping/>
  </p:clrMapOvr>
  <p:transition>
    <p:fade/>
  </p:transition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62030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16196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81819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54890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75033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5385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14655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68789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6294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icture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 descr="Picture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95"/>
          <a:stretch>
            <a:fillRect/>
          </a:stretch>
        </p:blipFill>
        <p:spPr bwMode="auto">
          <a:xfrm>
            <a:off x="0" y="1268413"/>
            <a:ext cx="9144000" cy="558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61878890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544127" y="1619296"/>
            <a:ext cx="8204585" cy="4510042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4380832"/>
      </p:ext>
    </p:extLst>
  </p:cSld>
  <p:clrMapOvr>
    <a:masterClrMapping/>
  </p:clrMapOvr>
  <p:transition>
    <p:fade/>
  </p:transition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7428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45457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13763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9638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53001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4525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51358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32588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7603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33238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sz="half" idx="1"/>
          </p:nvPr>
        </p:nvSpPr>
        <p:spPr>
          <a:xfrm>
            <a:off x="433389" y="1600200"/>
            <a:ext cx="8315324" cy="400110"/>
          </a:xfrm>
        </p:spPr>
        <p:txBody>
          <a:bodyPr wrap="square">
            <a:spAutoFit/>
          </a:bodyPr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44500" y="2708920"/>
            <a:ext cx="8304213" cy="3420418"/>
          </a:xfrm>
        </p:spPr>
        <p:txBody>
          <a:bodyPr lIns="0" tIns="0" rIns="0" bIns="0"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45434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5826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4001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364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3607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60579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56340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31853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89783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42611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35520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sz="half" idx="1"/>
          </p:nvPr>
        </p:nvSpPr>
        <p:spPr>
          <a:xfrm>
            <a:off x="433389" y="1600200"/>
            <a:ext cx="8315324" cy="400110"/>
          </a:xfrm>
        </p:spPr>
        <p:txBody>
          <a:bodyPr wrap="square">
            <a:spAutoFit/>
          </a:bodyPr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536575" y="2706688"/>
            <a:ext cx="8212138" cy="3422650"/>
          </a:xfrm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11532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65773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4520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451"/>
          <a:stretch/>
        </p:blipFill>
        <p:spPr>
          <a:xfrm>
            <a:off x="8401125" y="6076984"/>
            <a:ext cx="742876" cy="680259"/>
          </a:xfrm>
          <a:prstGeom prst="rect">
            <a:avLst/>
          </a:prstGeom>
        </p:spPr>
      </p:pic>
      <p:grpSp>
        <p:nvGrpSpPr>
          <p:cNvPr id="21" name="Group 20"/>
          <p:cNvGrpSpPr/>
          <p:nvPr userDrawn="1"/>
        </p:nvGrpSpPr>
        <p:grpSpPr>
          <a:xfrm>
            <a:off x="2491109" y="2085605"/>
            <a:ext cx="6249171" cy="3647651"/>
            <a:chOff x="2491109" y="2499919"/>
            <a:chExt cx="6249171" cy="3647651"/>
          </a:xfrm>
        </p:grpSpPr>
        <p:sp>
          <p:nvSpPr>
            <p:cNvPr id="10" name="Rectangle 9"/>
            <p:cNvSpPr/>
            <p:nvPr userDrawn="1"/>
          </p:nvSpPr>
          <p:spPr>
            <a:xfrm>
              <a:off x="2491109" y="3429000"/>
              <a:ext cx="6249171" cy="220001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330429" y="4869160"/>
              <a:ext cx="5066951" cy="93610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8084542" y="5834732"/>
              <a:ext cx="312838" cy="3128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8427442" y="5834732"/>
              <a:ext cx="312838" cy="3128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8230866" y="3055989"/>
              <a:ext cx="509414" cy="5094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8230866" y="2499919"/>
              <a:ext cx="509414" cy="50941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7674795" y="2499919"/>
              <a:ext cx="509414" cy="50941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8427442" y="5492426"/>
              <a:ext cx="312838" cy="3128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>
          <a:xfrm>
            <a:off x="0" y="6403145"/>
            <a:ext cx="8028384" cy="28526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18661" y="3208714"/>
            <a:ext cx="5812944" cy="1077218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GB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3447875" y="4543632"/>
            <a:ext cx="4818253" cy="430887"/>
          </a:xfrm>
        </p:spPr>
        <p:txBody>
          <a:bodyPr wrap="square">
            <a:spAutoFit/>
          </a:bodyPr>
          <a:lstStyle>
            <a:lvl1pPr marL="0" indent="0" algn="l">
              <a:buNone/>
              <a:defRPr sz="2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7982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at_Is_The_EIF_Divider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451"/>
          <a:stretch/>
        </p:blipFill>
        <p:spPr>
          <a:xfrm>
            <a:off x="8401125" y="6076984"/>
            <a:ext cx="742876" cy="680259"/>
          </a:xfrm>
          <a:prstGeom prst="rect">
            <a:avLst/>
          </a:prstGeom>
        </p:spPr>
      </p:pic>
      <p:grpSp>
        <p:nvGrpSpPr>
          <p:cNvPr id="21" name="Group 20"/>
          <p:cNvGrpSpPr/>
          <p:nvPr userDrawn="1"/>
        </p:nvGrpSpPr>
        <p:grpSpPr>
          <a:xfrm>
            <a:off x="2491109" y="2085605"/>
            <a:ext cx="6249171" cy="3647651"/>
            <a:chOff x="2491109" y="2499919"/>
            <a:chExt cx="6249171" cy="3647651"/>
          </a:xfrm>
        </p:grpSpPr>
        <p:sp>
          <p:nvSpPr>
            <p:cNvPr id="10" name="Rectangle 9"/>
            <p:cNvSpPr/>
            <p:nvPr userDrawn="1"/>
          </p:nvSpPr>
          <p:spPr>
            <a:xfrm>
              <a:off x="2491109" y="3429000"/>
              <a:ext cx="6249171" cy="220001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330429" y="4869160"/>
              <a:ext cx="5066951" cy="93610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8084542" y="5834732"/>
              <a:ext cx="312838" cy="3128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8427442" y="5834732"/>
              <a:ext cx="312838" cy="3128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8230866" y="3055989"/>
              <a:ext cx="509414" cy="5094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8230866" y="2499919"/>
              <a:ext cx="509414" cy="50941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7674795" y="2499919"/>
              <a:ext cx="509414" cy="50941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8427442" y="5492426"/>
              <a:ext cx="312838" cy="3128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>
          <a:xfrm>
            <a:off x="0" y="6403145"/>
            <a:ext cx="8028384" cy="28526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18661" y="3208714"/>
            <a:ext cx="5812944" cy="1077218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GB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3447875" y="4543632"/>
            <a:ext cx="4818253" cy="430887"/>
          </a:xfrm>
        </p:spPr>
        <p:txBody>
          <a:bodyPr wrap="square">
            <a:spAutoFit/>
          </a:bodyPr>
          <a:lstStyle>
            <a:lvl1pPr marL="0" indent="0" algn="l">
              <a:buNone/>
              <a:defRPr sz="2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19705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w_Do_We_Help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451"/>
          <a:stretch/>
        </p:blipFill>
        <p:spPr>
          <a:xfrm>
            <a:off x="8401125" y="6076984"/>
            <a:ext cx="742876" cy="680259"/>
          </a:xfrm>
          <a:prstGeom prst="rect">
            <a:avLst/>
          </a:prstGeom>
        </p:spPr>
      </p:pic>
      <p:grpSp>
        <p:nvGrpSpPr>
          <p:cNvPr id="21" name="Group 20"/>
          <p:cNvGrpSpPr/>
          <p:nvPr userDrawn="1"/>
        </p:nvGrpSpPr>
        <p:grpSpPr>
          <a:xfrm>
            <a:off x="2491109" y="2085605"/>
            <a:ext cx="6249171" cy="3647651"/>
            <a:chOff x="2491109" y="2499919"/>
            <a:chExt cx="6249171" cy="3647651"/>
          </a:xfrm>
        </p:grpSpPr>
        <p:sp>
          <p:nvSpPr>
            <p:cNvPr id="10" name="Rectangle 9"/>
            <p:cNvSpPr/>
            <p:nvPr userDrawn="1"/>
          </p:nvSpPr>
          <p:spPr>
            <a:xfrm>
              <a:off x="2491109" y="3429000"/>
              <a:ext cx="6249171" cy="220001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330429" y="4869160"/>
              <a:ext cx="5066951" cy="93610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8084542" y="5834732"/>
              <a:ext cx="312838" cy="3128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8427442" y="5834732"/>
              <a:ext cx="312838" cy="3128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8230866" y="3055989"/>
              <a:ext cx="509414" cy="5094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8230866" y="2499919"/>
              <a:ext cx="509414" cy="50941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7674795" y="2499919"/>
              <a:ext cx="509414" cy="50941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8427442" y="5492426"/>
              <a:ext cx="312838" cy="3128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>
          <a:xfrm>
            <a:off x="0" y="6403145"/>
            <a:ext cx="8028384" cy="28526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18661" y="3208714"/>
            <a:ext cx="5812944" cy="1077218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GB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3447875" y="4543632"/>
            <a:ext cx="4818253" cy="430887"/>
          </a:xfrm>
        </p:spPr>
        <p:txBody>
          <a:bodyPr wrap="square">
            <a:spAutoFit/>
          </a:bodyPr>
          <a:lstStyle>
            <a:lvl1pPr marL="0" indent="0" algn="l">
              <a:buNone/>
              <a:defRPr sz="2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6568053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icro_Enterprises_Divider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451"/>
          <a:stretch/>
        </p:blipFill>
        <p:spPr>
          <a:xfrm>
            <a:off x="8401125" y="6076984"/>
            <a:ext cx="742876" cy="680259"/>
          </a:xfrm>
          <a:prstGeom prst="rect">
            <a:avLst/>
          </a:prstGeom>
        </p:spPr>
      </p:pic>
      <p:grpSp>
        <p:nvGrpSpPr>
          <p:cNvPr id="21" name="Group 20"/>
          <p:cNvGrpSpPr/>
          <p:nvPr userDrawn="1"/>
        </p:nvGrpSpPr>
        <p:grpSpPr>
          <a:xfrm>
            <a:off x="2491109" y="2085605"/>
            <a:ext cx="6249171" cy="3647651"/>
            <a:chOff x="2491109" y="2499919"/>
            <a:chExt cx="6249171" cy="3647651"/>
          </a:xfrm>
        </p:grpSpPr>
        <p:sp>
          <p:nvSpPr>
            <p:cNvPr id="10" name="Rectangle 9"/>
            <p:cNvSpPr/>
            <p:nvPr userDrawn="1"/>
          </p:nvSpPr>
          <p:spPr>
            <a:xfrm>
              <a:off x="2491109" y="3429000"/>
              <a:ext cx="6249171" cy="220001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330429" y="4869160"/>
              <a:ext cx="5066951" cy="93610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8084542" y="5834732"/>
              <a:ext cx="312838" cy="3128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8427442" y="5834732"/>
              <a:ext cx="312838" cy="3128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8230866" y="3055989"/>
              <a:ext cx="509414" cy="5094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8230866" y="2499919"/>
              <a:ext cx="509414" cy="50941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7674795" y="2499919"/>
              <a:ext cx="509414" cy="50941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8427442" y="5492426"/>
              <a:ext cx="312838" cy="3128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>
          <a:xfrm>
            <a:off x="0" y="6403145"/>
            <a:ext cx="8028384" cy="28526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18661" y="3208714"/>
            <a:ext cx="5812944" cy="1077218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GB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3447875" y="4543632"/>
            <a:ext cx="4818253" cy="430887"/>
          </a:xfrm>
        </p:spPr>
        <p:txBody>
          <a:bodyPr wrap="square">
            <a:spAutoFit/>
          </a:bodyPr>
          <a:lstStyle>
            <a:lvl1pPr marL="0" indent="0" algn="l">
              <a:buNone/>
              <a:defRPr sz="2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33968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at_Next_Divider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44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451"/>
          <a:stretch/>
        </p:blipFill>
        <p:spPr>
          <a:xfrm>
            <a:off x="8401125" y="6076984"/>
            <a:ext cx="742876" cy="680259"/>
          </a:xfrm>
          <a:prstGeom prst="rect">
            <a:avLst/>
          </a:prstGeom>
        </p:spPr>
      </p:pic>
      <p:grpSp>
        <p:nvGrpSpPr>
          <p:cNvPr id="21" name="Group 20"/>
          <p:cNvGrpSpPr/>
          <p:nvPr userDrawn="1"/>
        </p:nvGrpSpPr>
        <p:grpSpPr>
          <a:xfrm>
            <a:off x="2491109" y="2085605"/>
            <a:ext cx="6249171" cy="3647651"/>
            <a:chOff x="2491109" y="2499919"/>
            <a:chExt cx="6249171" cy="3647651"/>
          </a:xfrm>
        </p:grpSpPr>
        <p:sp>
          <p:nvSpPr>
            <p:cNvPr id="10" name="Rectangle 9"/>
            <p:cNvSpPr/>
            <p:nvPr userDrawn="1"/>
          </p:nvSpPr>
          <p:spPr>
            <a:xfrm>
              <a:off x="2491109" y="3429000"/>
              <a:ext cx="6249171" cy="220001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330429" y="4869160"/>
              <a:ext cx="5066951" cy="93610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8084542" y="5834732"/>
              <a:ext cx="312838" cy="3128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8427442" y="5834732"/>
              <a:ext cx="312838" cy="3128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8230866" y="3055989"/>
              <a:ext cx="509414" cy="5094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8230866" y="2499919"/>
              <a:ext cx="509414" cy="50941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7674795" y="2499919"/>
              <a:ext cx="509414" cy="50941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8427442" y="5492426"/>
              <a:ext cx="312838" cy="3128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prstClr val="white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>
          <a:xfrm>
            <a:off x="0" y="6403145"/>
            <a:ext cx="8028384" cy="28526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18661" y="3208714"/>
            <a:ext cx="5812944" cy="1077218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GB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3447875" y="4543632"/>
            <a:ext cx="4818253" cy="430887"/>
          </a:xfrm>
        </p:spPr>
        <p:txBody>
          <a:bodyPr wrap="square">
            <a:spAutoFit/>
          </a:bodyPr>
          <a:lstStyle>
            <a:lvl1pPr marL="0" indent="0" algn="l">
              <a:buNone/>
              <a:defRPr sz="2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22945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(x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268286" y="1608138"/>
            <a:ext cx="3456614" cy="4516437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8451627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(x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268286" y="1608137"/>
            <a:ext cx="3456614" cy="2208853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5259896" y="3909270"/>
            <a:ext cx="3465003" cy="2216893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1936214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(x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259896" y="1608137"/>
            <a:ext cx="3465003" cy="1437067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5268913" y="3148617"/>
            <a:ext cx="3455986" cy="1437067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5268912" y="4689096"/>
            <a:ext cx="3455987" cy="1437067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134085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1719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544127" y="1619296"/>
            <a:ext cx="8204585" cy="4510042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836028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sz="half" idx="1"/>
          </p:nvPr>
        </p:nvSpPr>
        <p:spPr>
          <a:xfrm>
            <a:off x="433389" y="1600200"/>
            <a:ext cx="8315324" cy="400110"/>
          </a:xfrm>
        </p:spPr>
        <p:txBody>
          <a:bodyPr wrap="square">
            <a:spAutoFit/>
          </a:bodyPr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44500" y="2708920"/>
            <a:ext cx="8304213" cy="3420418"/>
          </a:xfrm>
        </p:spPr>
        <p:txBody>
          <a:bodyPr lIns="0" tIns="0" rIns="0" bIns="0"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59861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sz="half" idx="1"/>
          </p:nvPr>
        </p:nvSpPr>
        <p:spPr>
          <a:xfrm>
            <a:off x="433389" y="1600200"/>
            <a:ext cx="8315324" cy="400110"/>
          </a:xfrm>
        </p:spPr>
        <p:txBody>
          <a:bodyPr wrap="square">
            <a:spAutoFit/>
          </a:bodyPr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536575" y="2706688"/>
            <a:ext cx="8212138" cy="3422650"/>
          </a:xfrm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46725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25403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0539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39902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20379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73576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9666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2226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4579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3324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34201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1952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87798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7153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08336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9553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7581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7908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96548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86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48940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95928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98693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98986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88852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7128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82672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70716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2414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514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1411439267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77650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99910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6616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7751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5644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865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95788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3717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9764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515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26470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6992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0554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3589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4122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99770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61409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31567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70272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06558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14123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80723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47379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92274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95800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10858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35430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60933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2847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84709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93399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icture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 descr="Picture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95"/>
          <a:stretch>
            <a:fillRect/>
          </a:stretch>
        </p:blipFill>
        <p:spPr bwMode="auto">
          <a:xfrm>
            <a:off x="0" y="1268413"/>
            <a:ext cx="9144000" cy="558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69348371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35026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5251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38966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8178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7363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85421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572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3201948710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6784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56503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70464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38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41919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94959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3419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1860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73974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5.12.2017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2964776986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5.12.2017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5.12.2017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5.12.2017 г.</a:t>
            </a:fld>
            <a:endParaRPr lang="bg-B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5.12.2017 г.</a:t>
            </a:fld>
            <a:endParaRPr lang="bg-BG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5.12.2017 г.</a:t>
            </a:fld>
            <a:endParaRPr lang="bg-BG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5.12.2017 г.</a:t>
            </a:fld>
            <a:endParaRPr lang="bg-BG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5.12.2017 г.</a:t>
            </a:fld>
            <a:endParaRPr lang="bg-B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5.12.2017 г.</a:t>
            </a:fld>
            <a:endParaRPr lang="bg-B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5.12.2017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5.12.2017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0293974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1719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4579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86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77650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6992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47379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35026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5251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38966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8178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8594841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7363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85421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572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6784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56503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70464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38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41919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94959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3419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bg-BG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0236525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1860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73974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26185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3034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8150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9159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5921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65136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64167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3480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3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20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18.xml"/><Relationship Id="rId10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3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31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11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129.xml"/><Relationship Id="rId10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28.xml"/><Relationship Id="rId9" Type="http://schemas.openxmlformats.org/officeDocument/2006/relationships/slideLayout" Target="../slideLayouts/slideLayout133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3" Type="http://schemas.openxmlformats.org/officeDocument/2006/relationships/slideLayout" Target="../slideLayouts/slideLayout138.xml"/><Relationship Id="rId7" Type="http://schemas.openxmlformats.org/officeDocument/2006/relationships/slideLayout" Target="../slideLayouts/slideLayout142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37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5" Type="http://schemas.openxmlformats.org/officeDocument/2006/relationships/slideLayout" Target="../slideLayouts/slideLayout140.xml"/><Relationship Id="rId10" Type="http://schemas.openxmlformats.org/officeDocument/2006/relationships/slideLayout" Target="../slideLayouts/slideLayout145.xml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4.xml"/><Relationship Id="rId13" Type="http://schemas.openxmlformats.org/officeDocument/2006/relationships/theme" Target="../theme/theme13.xml"/><Relationship Id="rId3" Type="http://schemas.openxmlformats.org/officeDocument/2006/relationships/slideLayout" Target="../slideLayouts/slideLayout149.xml"/><Relationship Id="rId7" Type="http://schemas.openxmlformats.org/officeDocument/2006/relationships/slideLayout" Target="../slideLayouts/slideLayout153.xml"/><Relationship Id="rId12" Type="http://schemas.openxmlformats.org/officeDocument/2006/relationships/slideLayout" Target="../slideLayouts/slideLayout158.xml"/><Relationship Id="rId2" Type="http://schemas.openxmlformats.org/officeDocument/2006/relationships/slideLayout" Target="../slideLayouts/slideLayout148.xml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11" Type="http://schemas.openxmlformats.org/officeDocument/2006/relationships/slideLayout" Target="../slideLayouts/slideLayout157.xml"/><Relationship Id="rId5" Type="http://schemas.openxmlformats.org/officeDocument/2006/relationships/slideLayout" Target="../slideLayouts/slideLayout151.xml"/><Relationship Id="rId10" Type="http://schemas.openxmlformats.org/officeDocument/2006/relationships/slideLayout" Target="../slideLayouts/slideLayout156.xml"/><Relationship Id="rId4" Type="http://schemas.openxmlformats.org/officeDocument/2006/relationships/slideLayout" Target="../slideLayouts/slideLayout150.xml"/><Relationship Id="rId9" Type="http://schemas.openxmlformats.org/officeDocument/2006/relationships/slideLayout" Target="../slideLayouts/slideLayout155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.xml"/><Relationship Id="rId3" Type="http://schemas.openxmlformats.org/officeDocument/2006/relationships/slideLayout" Target="../slideLayouts/slideLayout161.xml"/><Relationship Id="rId7" Type="http://schemas.openxmlformats.org/officeDocument/2006/relationships/slideLayout" Target="../slideLayouts/slideLayout165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60.xml"/><Relationship Id="rId1" Type="http://schemas.openxmlformats.org/officeDocument/2006/relationships/slideLayout" Target="../slideLayouts/slideLayout159.xml"/><Relationship Id="rId6" Type="http://schemas.openxmlformats.org/officeDocument/2006/relationships/slideLayout" Target="../slideLayouts/slideLayout164.xml"/><Relationship Id="rId11" Type="http://schemas.openxmlformats.org/officeDocument/2006/relationships/slideLayout" Target="../slideLayouts/slideLayout169.xml"/><Relationship Id="rId5" Type="http://schemas.openxmlformats.org/officeDocument/2006/relationships/slideLayout" Target="../slideLayouts/slideLayout163.xml"/><Relationship Id="rId10" Type="http://schemas.openxmlformats.org/officeDocument/2006/relationships/slideLayout" Target="../slideLayouts/slideLayout168.xml"/><Relationship Id="rId4" Type="http://schemas.openxmlformats.org/officeDocument/2006/relationships/slideLayout" Target="../slideLayouts/slideLayout162.xml"/><Relationship Id="rId9" Type="http://schemas.openxmlformats.org/officeDocument/2006/relationships/slideLayout" Target="../slideLayouts/slideLayout167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7.xml"/><Relationship Id="rId3" Type="http://schemas.openxmlformats.org/officeDocument/2006/relationships/slideLayout" Target="../slideLayouts/slideLayout172.xml"/><Relationship Id="rId7" Type="http://schemas.openxmlformats.org/officeDocument/2006/relationships/slideLayout" Target="../slideLayouts/slideLayout176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71.xml"/><Relationship Id="rId1" Type="http://schemas.openxmlformats.org/officeDocument/2006/relationships/slideLayout" Target="../slideLayouts/slideLayout170.xml"/><Relationship Id="rId6" Type="http://schemas.openxmlformats.org/officeDocument/2006/relationships/slideLayout" Target="../slideLayouts/slideLayout175.xml"/><Relationship Id="rId11" Type="http://schemas.openxmlformats.org/officeDocument/2006/relationships/slideLayout" Target="../slideLayouts/slideLayout180.xml"/><Relationship Id="rId5" Type="http://schemas.openxmlformats.org/officeDocument/2006/relationships/slideLayout" Target="../slideLayouts/slideLayout174.xml"/><Relationship Id="rId10" Type="http://schemas.openxmlformats.org/officeDocument/2006/relationships/slideLayout" Target="../slideLayouts/slideLayout179.xml"/><Relationship Id="rId4" Type="http://schemas.openxmlformats.org/officeDocument/2006/relationships/slideLayout" Target="../slideLayouts/slideLayout173.xml"/><Relationship Id="rId9" Type="http://schemas.openxmlformats.org/officeDocument/2006/relationships/slideLayout" Target="../slideLayouts/slideLayout178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8.xml"/><Relationship Id="rId3" Type="http://schemas.openxmlformats.org/officeDocument/2006/relationships/slideLayout" Target="../slideLayouts/slideLayout183.xml"/><Relationship Id="rId7" Type="http://schemas.openxmlformats.org/officeDocument/2006/relationships/slideLayout" Target="../slideLayouts/slideLayout187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182.xml"/><Relationship Id="rId1" Type="http://schemas.openxmlformats.org/officeDocument/2006/relationships/slideLayout" Target="../slideLayouts/slideLayout181.xml"/><Relationship Id="rId6" Type="http://schemas.openxmlformats.org/officeDocument/2006/relationships/slideLayout" Target="../slideLayouts/slideLayout186.xml"/><Relationship Id="rId11" Type="http://schemas.openxmlformats.org/officeDocument/2006/relationships/slideLayout" Target="../slideLayouts/slideLayout191.xml"/><Relationship Id="rId5" Type="http://schemas.openxmlformats.org/officeDocument/2006/relationships/slideLayout" Target="../slideLayouts/slideLayout185.xml"/><Relationship Id="rId10" Type="http://schemas.openxmlformats.org/officeDocument/2006/relationships/slideLayout" Target="../slideLayouts/slideLayout190.xml"/><Relationship Id="rId4" Type="http://schemas.openxmlformats.org/officeDocument/2006/relationships/slideLayout" Target="../slideLayouts/slideLayout184.xml"/><Relationship Id="rId9" Type="http://schemas.openxmlformats.org/officeDocument/2006/relationships/slideLayout" Target="../slideLayouts/slideLayout189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9.xml"/><Relationship Id="rId3" Type="http://schemas.openxmlformats.org/officeDocument/2006/relationships/slideLayout" Target="../slideLayouts/slideLayout194.xml"/><Relationship Id="rId7" Type="http://schemas.openxmlformats.org/officeDocument/2006/relationships/slideLayout" Target="../slideLayouts/slideLayout198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193.xml"/><Relationship Id="rId1" Type="http://schemas.openxmlformats.org/officeDocument/2006/relationships/slideLayout" Target="../slideLayouts/slideLayout192.xml"/><Relationship Id="rId6" Type="http://schemas.openxmlformats.org/officeDocument/2006/relationships/slideLayout" Target="../slideLayouts/slideLayout197.xml"/><Relationship Id="rId11" Type="http://schemas.openxmlformats.org/officeDocument/2006/relationships/slideLayout" Target="../slideLayouts/slideLayout202.xml"/><Relationship Id="rId5" Type="http://schemas.openxmlformats.org/officeDocument/2006/relationships/slideLayout" Target="../slideLayouts/slideLayout196.xml"/><Relationship Id="rId10" Type="http://schemas.openxmlformats.org/officeDocument/2006/relationships/slideLayout" Target="../slideLayouts/slideLayout201.xml"/><Relationship Id="rId4" Type="http://schemas.openxmlformats.org/officeDocument/2006/relationships/slideLayout" Target="../slideLayouts/slideLayout195.xml"/><Relationship Id="rId9" Type="http://schemas.openxmlformats.org/officeDocument/2006/relationships/slideLayout" Target="../slideLayouts/slideLayout200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0.xml"/><Relationship Id="rId3" Type="http://schemas.openxmlformats.org/officeDocument/2006/relationships/slideLayout" Target="../slideLayouts/slideLayout205.xml"/><Relationship Id="rId7" Type="http://schemas.openxmlformats.org/officeDocument/2006/relationships/slideLayout" Target="../slideLayouts/slideLayout209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204.xml"/><Relationship Id="rId1" Type="http://schemas.openxmlformats.org/officeDocument/2006/relationships/slideLayout" Target="../slideLayouts/slideLayout203.xml"/><Relationship Id="rId6" Type="http://schemas.openxmlformats.org/officeDocument/2006/relationships/slideLayout" Target="../slideLayouts/slideLayout208.xml"/><Relationship Id="rId11" Type="http://schemas.openxmlformats.org/officeDocument/2006/relationships/slideLayout" Target="../slideLayouts/slideLayout213.xml"/><Relationship Id="rId5" Type="http://schemas.openxmlformats.org/officeDocument/2006/relationships/slideLayout" Target="../slideLayouts/slideLayout207.xml"/><Relationship Id="rId10" Type="http://schemas.openxmlformats.org/officeDocument/2006/relationships/slideLayout" Target="../slideLayouts/slideLayout212.xml"/><Relationship Id="rId4" Type="http://schemas.openxmlformats.org/officeDocument/2006/relationships/slideLayout" Target="../slideLayouts/slideLayout206.xml"/><Relationship Id="rId9" Type="http://schemas.openxmlformats.org/officeDocument/2006/relationships/slideLayout" Target="../slideLayouts/slideLayout211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1.xml"/><Relationship Id="rId3" Type="http://schemas.openxmlformats.org/officeDocument/2006/relationships/slideLayout" Target="../slideLayouts/slideLayout216.xml"/><Relationship Id="rId7" Type="http://schemas.openxmlformats.org/officeDocument/2006/relationships/slideLayout" Target="../slideLayouts/slideLayout220.xml"/><Relationship Id="rId12" Type="http://schemas.openxmlformats.org/officeDocument/2006/relationships/theme" Target="../theme/theme19.xml"/><Relationship Id="rId2" Type="http://schemas.openxmlformats.org/officeDocument/2006/relationships/slideLayout" Target="../slideLayouts/slideLayout215.xml"/><Relationship Id="rId1" Type="http://schemas.openxmlformats.org/officeDocument/2006/relationships/slideLayout" Target="../slideLayouts/slideLayout214.xml"/><Relationship Id="rId6" Type="http://schemas.openxmlformats.org/officeDocument/2006/relationships/slideLayout" Target="../slideLayouts/slideLayout219.xml"/><Relationship Id="rId11" Type="http://schemas.openxmlformats.org/officeDocument/2006/relationships/slideLayout" Target="../slideLayouts/slideLayout224.xml"/><Relationship Id="rId5" Type="http://schemas.openxmlformats.org/officeDocument/2006/relationships/slideLayout" Target="../slideLayouts/slideLayout218.xml"/><Relationship Id="rId10" Type="http://schemas.openxmlformats.org/officeDocument/2006/relationships/slideLayout" Target="../slideLayouts/slideLayout223.xml"/><Relationship Id="rId4" Type="http://schemas.openxmlformats.org/officeDocument/2006/relationships/slideLayout" Target="../slideLayouts/slideLayout217.xml"/><Relationship Id="rId9" Type="http://schemas.openxmlformats.org/officeDocument/2006/relationships/slideLayout" Target="../slideLayouts/slideLayout2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16.xml"/><Relationship Id="rId21" Type="http://schemas.openxmlformats.org/officeDocument/2006/relationships/slideLayout" Target="../slideLayouts/slideLayout34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2.xml"/><Relationship Id="rId13" Type="http://schemas.openxmlformats.org/officeDocument/2006/relationships/theme" Target="../theme/theme20.xml"/><Relationship Id="rId3" Type="http://schemas.openxmlformats.org/officeDocument/2006/relationships/slideLayout" Target="../slideLayouts/slideLayout227.xml"/><Relationship Id="rId7" Type="http://schemas.openxmlformats.org/officeDocument/2006/relationships/slideLayout" Target="../slideLayouts/slideLayout231.xml"/><Relationship Id="rId12" Type="http://schemas.openxmlformats.org/officeDocument/2006/relationships/slideLayout" Target="../slideLayouts/slideLayout236.xml"/><Relationship Id="rId2" Type="http://schemas.openxmlformats.org/officeDocument/2006/relationships/slideLayout" Target="../slideLayouts/slideLayout226.xml"/><Relationship Id="rId1" Type="http://schemas.openxmlformats.org/officeDocument/2006/relationships/slideLayout" Target="../slideLayouts/slideLayout225.xml"/><Relationship Id="rId6" Type="http://schemas.openxmlformats.org/officeDocument/2006/relationships/slideLayout" Target="../slideLayouts/slideLayout230.xml"/><Relationship Id="rId11" Type="http://schemas.openxmlformats.org/officeDocument/2006/relationships/slideLayout" Target="../slideLayouts/slideLayout235.xml"/><Relationship Id="rId5" Type="http://schemas.openxmlformats.org/officeDocument/2006/relationships/slideLayout" Target="../slideLayouts/slideLayout229.xml"/><Relationship Id="rId10" Type="http://schemas.openxmlformats.org/officeDocument/2006/relationships/slideLayout" Target="../slideLayouts/slideLayout234.xml"/><Relationship Id="rId4" Type="http://schemas.openxmlformats.org/officeDocument/2006/relationships/slideLayout" Target="../slideLayouts/slideLayout228.xml"/><Relationship Id="rId9" Type="http://schemas.openxmlformats.org/officeDocument/2006/relationships/slideLayout" Target="../slideLayouts/slideLayout233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4.xml"/><Relationship Id="rId3" Type="http://schemas.openxmlformats.org/officeDocument/2006/relationships/slideLayout" Target="../slideLayouts/slideLayout239.xml"/><Relationship Id="rId7" Type="http://schemas.openxmlformats.org/officeDocument/2006/relationships/slideLayout" Target="../slideLayouts/slideLayout243.xml"/><Relationship Id="rId12" Type="http://schemas.openxmlformats.org/officeDocument/2006/relationships/theme" Target="../theme/theme21.xml"/><Relationship Id="rId2" Type="http://schemas.openxmlformats.org/officeDocument/2006/relationships/slideLayout" Target="../slideLayouts/slideLayout238.xml"/><Relationship Id="rId1" Type="http://schemas.openxmlformats.org/officeDocument/2006/relationships/slideLayout" Target="../slideLayouts/slideLayout237.xml"/><Relationship Id="rId6" Type="http://schemas.openxmlformats.org/officeDocument/2006/relationships/slideLayout" Target="../slideLayouts/slideLayout242.xml"/><Relationship Id="rId11" Type="http://schemas.openxmlformats.org/officeDocument/2006/relationships/slideLayout" Target="../slideLayouts/slideLayout247.xml"/><Relationship Id="rId5" Type="http://schemas.openxmlformats.org/officeDocument/2006/relationships/slideLayout" Target="../slideLayouts/slideLayout241.xml"/><Relationship Id="rId10" Type="http://schemas.openxmlformats.org/officeDocument/2006/relationships/slideLayout" Target="../slideLayouts/slideLayout246.xml"/><Relationship Id="rId4" Type="http://schemas.openxmlformats.org/officeDocument/2006/relationships/slideLayout" Target="../slideLayouts/slideLayout240.xml"/><Relationship Id="rId9" Type="http://schemas.openxmlformats.org/officeDocument/2006/relationships/slideLayout" Target="../slideLayouts/slideLayout245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5.xml"/><Relationship Id="rId13" Type="http://schemas.openxmlformats.org/officeDocument/2006/relationships/theme" Target="../theme/theme22.xml"/><Relationship Id="rId3" Type="http://schemas.openxmlformats.org/officeDocument/2006/relationships/slideLayout" Target="../slideLayouts/slideLayout250.xml"/><Relationship Id="rId7" Type="http://schemas.openxmlformats.org/officeDocument/2006/relationships/slideLayout" Target="../slideLayouts/slideLayout254.xml"/><Relationship Id="rId12" Type="http://schemas.openxmlformats.org/officeDocument/2006/relationships/slideLayout" Target="../slideLayouts/slideLayout259.xml"/><Relationship Id="rId2" Type="http://schemas.openxmlformats.org/officeDocument/2006/relationships/slideLayout" Target="../slideLayouts/slideLayout249.xml"/><Relationship Id="rId1" Type="http://schemas.openxmlformats.org/officeDocument/2006/relationships/slideLayout" Target="../slideLayouts/slideLayout248.xml"/><Relationship Id="rId6" Type="http://schemas.openxmlformats.org/officeDocument/2006/relationships/slideLayout" Target="../slideLayouts/slideLayout253.xml"/><Relationship Id="rId11" Type="http://schemas.openxmlformats.org/officeDocument/2006/relationships/slideLayout" Target="../slideLayouts/slideLayout258.xml"/><Relationship Id="rId5" Type="http://schemas.openxmlformats.org/officeDocument/2006/relationships/slideLayout" Target="../slideLayouts/slideLayout252.xml"/><Relationship Id="rId10" Type="http://schemas.openxmlformats.org/officeDocument/2006/relationships/slideLayout" Target="../slideLayouts/slideLayout257.xml"/><Relationship Id="rId4" Type="http://schemas.openxmlformats.org/officeDocument/2006/relationships/slideLayout" Target="../slideLayouts/slideLayout251.xml"/><Relationship Id="rId9" Type="http://schemas.openxmlformats.org/officeDocument/2006/relationships/slideLayout" Target="../slideLayouts/slideLayout256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7.xml"/><Relationship Id="rId13" Type="http://schemas.openxmlformats.org/officeDocument/2006/relationships/theme" Target="../theme/theme23.xml"/><Relationship Id="rId3" Type="http://schemas.openxmlformats.org/officeDocument/2006/relationships/slideLayout" Target="../slideLayouts/slideLayout262.xml"/><Relationship Id="rId7" Type="http://schemas.openxmlformats.org/officeDocument/2006/relationships/slideLayout" Target="../slideLayouts/slideLayout266.xml"/><Relationship Id="rId12" Type="http://schemas.openxmlformats.org/officeDocument/2006/relationships/slideLayout" Target="../slideLayouts/slideLayout271.xml"/><Relationship Id="rId2" Type="http://schemas.openxmlformats.org/officeDocument/2006/relationships/slideLayout" Target="../slideLayouts/slideLayout261.xml"/><Relationship Id="rId1" Type="http://schemas.openxmlformats.org/officeDocument/2006/relationships/slideLayout" Target="../slideLayouts/slideLayout260.xml"/><Relationship Id="rId6" Type="http://schemas.openxmlformats.org/officeDocument/2006/relationships/slideLayout" Target="../slideLayouts/slideLayout265.xml"/><Relationship Id="rId11" Type="http://schemas.openxmlformats.org/officeDocument/2006/relationships/slideLayout" Target="../slideLayouts/slideLayout270.xml"/><Relationship Id="rId5" Type="http://schemas.openxmlformats.org/officeDocument/2006/relationships/slideLayout" Target="../slideLayouts/slideLayout264.xml"/><Relationship Id="rId10" Type="http://schemas.openxmlformats.org/officeDocument/2006/relationships/slideLayout" Target="../slideLayouts/slideLayout269.xml"/><Relationship Id="rId4" Type="http://schemas.openxmlformats.org/officeDocument/2006/relationships/slideLayout" Target="../slideLayouts/slideLayout263.xml"/><Relationship Id="rId9" Type="http://schemas.openxmlformats.org/officeDocument/2006/relationships/slideLayout" Target="../slideLayouts/slideLayout268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9.xml"/><Relationship Id="rId13" Type="http://schemas.openxmlformats.org/officeDocument/2006/relationships/theme" Target="../theme/theme24.xml"/><Relationship Id="rId3" Type="http://schemas.openxmlformats.org/officeDocument/2006/relationships/slideLayout" Target="../slideLayouts/slideLayout274.xml"/><Relationship Id="rId7" Type="http://schemas.openxmlformats.org/officeDocument/2006/relationships/slideLayout" Target="../slideLayouts/slideLayout278.xml"/><Relationship Id="rId12" Type="http://schemas.openxmlformats.org/officeDocument/2006/relationships/slideLayout" Target="../slideLayouts/slideLayout283.xml"/><Relationship Id="rId2" Type="http://schemas.openxmlformats.org/officeDocument/2006/relationships/slideLayout" Target="../slideLayouts/slideLayout273.xml"/><Relationship Id="rId1" Type="http://schemas.openxmlformats.org/officeDocument/2006/relationships/slideLayout" Target="../slideLayouts/slideLayout272.xml"/><Relationship Id="rId6" Type="http://schemas.openxmlformats.org/officeDocument/2006/relationships/slideLayout" Target="../slideLayouts/slideLayout277.xml"/><Relationship Id="rId11" Type="http://schemas.openxmlformats.org/officeDocument/2006/relationships/slideLayout" Target="../slideLayouts/slideLayout282.xml"/><Relationship Id="rId5" Type="http://schemas.openxmlformats.org/officeDocument/2006/relationships/slideLayout" Target="../slideLayouts/slideLayout276.xml"/><Relationship Id="rId10" Type="http://schemas.openxmlformats.org/officeDocument/2006/relationships/slideLayout" Target="../slideLayouts/slideLayout281.xml"/><Relationship Id="rId4" Type="http://schemas.openxmlformats.org/officeDocument/2006/relationships/slideLayout" Target="../slideLayouts/slideLayout275.xml"/><Relationship Id="rId9" Type="http://schemas.openxmlformats.org/officeDocument/2006/relationships/slideLayout" Target="../slideLayouts/slideLayout280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1.xml"/><Relationship Id="rId3" Type="http://schemas.openxmlformats.org/officeDocument/2006/relationships/slideLayout" Target="../slideLayouts/slideLayout286.xml"/><Relationship Id="rId7" Type="http://schemas.openxmlformats.org/officeDocument/2006/relationships/slideLayout" Target="../slideLayouts/slideLayout290.xml"/><Relationship Id="rId12" Type="http://schemas.openxmlformats.org/officeDocument/2006/relationships/theme" Target="../theme/theme25.xml"/><Relationship Id="rId2" Type="http://schemas.openxmlformats.org/officeDocument/2006/relationships/slideLayout" Target="../slideLayouts/slideLayout285.xml"/><Relationship Id="rId1" Type="http://schemas.openxmlformats.org/officeDocument/2006/relationships/slideLayout" Target="../slideLayouts/slideLayout284.xml"/><Relationship Id="rId6" Type="http://schemas.openxmlformats.org/officeDocument/2006/relationships/slideLayout" Target="../slideLayouts/slideLayout289.xml"/><Relationship Id="rId11" Type="http://schemas.openxmlformats.org/officeDocument/2006/relationships/slideLayout" Target="../slideLayouts/slideLayout294.xml"/><Relationship Id="rId5" Type="http://schemas.openxmlformats.org/officeDocument/2006/relationships/slideLayout" Target="../slideLayouts/slideLayout288.xml"/><Relationship Id="rId10" Type="http://schemas.openxmlformats.org/officeDocument/2006/relationships/slideLayout" Target="../slideLayouts/slideLayout293.xml"/><Relationship Id="rId4" Type="http://schemas.openxmlformats.org/officeDocument/2006/relationships/slideLayout" Target="../slideLayouts/slideLayout287.xml"/><Relationship Id="rId9" Type="http://schemas.openxmlformats.org/officeDocument/2006/relationships/slideLayout" Target="../slideLayouts/slideLayout292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2.xml"/><Relationship Id="rId3" Type="http://schemas.openxmlformats.org/officeDocument/2006/relationships/slideLayout" Target="../slideLayouts/slideLayout297.xml"/><Relationship Id="rId7" Type="http://schemas.openxmlformats.org/officeDocument/2006/relationships/slideLayout" Target="../slideLayouts/slideLayout301.xml"/><Relationship Id="rId12" Type="http://schemas.openxmlformats.org/officeDocument/2006/relationships/theme" Target="../theme/theme26.xml"/><Relationship Id="rId2" Type="http://schemas.openxmlformats.org/officeDocument/2006/relationships/slideLayout" Target="../slideLayouts/slideLayout296.xml"/><Relationship Id="rId1" Type="http://schemas.openxmlformats.org/officeDocument/2006/relationships/slideLayout" Target="../slideLayouts/slideLayout295.xml"/><Relationship Id="rId6" Type="http://schemas.openxmlformats.org/officeDocument/2006/relationships/slideLayout" Target="../slideLayouts/slideLayout300.xml"/><Relationship Id="rId11" Type="http://schemas.openxmlformats.org/officeDocument/2006/relationships/slideLayout" Target="../slideLayouts/slideLayout305.xml"/><Relationship Id="rId5" Type="http://schemas.openxmlformats.org/officeDocument/2006/relationships/slideLayout" Target="../slideLayouts/slideLayout299.xml"/><Relationship Id="rId10" Type="http://schemas.openxmlformats.org/officeDocument/2006/relationships/slideLayout" Target="../slideLayouts/slideLayout304.xml"/><Relationship Id="rId4" Type="http://schemas.openxmlformats.org/officeDocument/2006/relationships/slideLayout" Target="../slideLayouts/slideLayout298.xml"/><Relationship Id="rId9" Type="http://schemas.openxmlformats.org/officeDocument/2006/relationships/slideLayout" Target="../slideLayouts/slideLayout303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3.xml"/><Relationship Id="rId3" Type="http://schemas.openxmlformats.org/officeDocument/2006/relationships/slideLayout" Target="../slideLayouts/slideLayout308.xml"/><Relationship Id="rId7" Type="http://schemas.openxmlformats.org/officeDocument/2006/relationships/slideLayout" Target="../slideLayouts/slideLayout312.xml"/><Relationship Id="rId12" Type="http://schemas.openxmlformats.org/officeDocument/2006/relationships/theme" Target="../theme/theme27.xml"/><Relationship Id="rId2" Type="http://schemas.openxmlformats.org/officeDocument/2006/relationships/slideLayout" Target="../slideLayouts/slideLayout307.xml"/><Relationship Id="rId1" Type="http://schemas.openxmlformats.org/officeDocument/2006/relationships/slideLayout" Target="../slideLayouts/slideLayout306.xml"/><Relationship Id="rId6" Type="http://schemas.openxmlformats.org/officeDocument/2006/relationships/slideLayout" Target="../slideLayouts/slideLayout311.xml"/><Relationship Id="rId11" Type="http://schemas.openxmlformats.org/officeDocument/2006/relationships/slideLayout" Target="../slideLayouts/slideLayout316.xml"/><Relationship Id="rId5" Type="http://schemas.openxmlformats.org/officeDocument/2006/relationships/slideLayout" Target="../slideLayouts/slideLayout310.xml"/><Relationship Id="rId10" Type="http://schemas.openxmlformats.org/officeDocument/2006/relationships/slideLayout" Target="../slideLayouts/slideLayout315.xml"/><Relationship Id="rId4" Type="http://schemas.openxmlformats.org/officeDocument/2006/relationships/slideLayout" Target="../slideLayouts/slideLayout309.xml"/><Relationship Id="rId9" Type="http://schemas.openxmlformats.org/officeDocument/2006/relationships/slideLayout" Target="../slideLayouts/slideLayout314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4.xml"/><Relationship Id="rId3" Type="http://schemas.openxmlformats.org/officeDocument/2006/relationships/slideLayout" Target="../slideLayouts/slideLayout319.xml"/><Relationship Id="rId7" Type="http://schemas.openxmlformats.org/officeDocument/2006/relationships/slideLayout" Target="../slideLayouts/slideLayout323.xml"/><Relationship Id="rId12" Type="http://schemas.openxmlformats.org/officeDocument/2006/relationships/theme" Target="../theme/theme28.xml"/><Relationship Id="rId2" Type="http://schemas.openxmlformats.org/officeDocument/2006/relationships/slideLayout" Target="../slideLayouts/slideLayout318.xml"/><Relationship Id="rId1" Type="http://schemas.openxmlformats.org/officeDocument/2006/relationships/slideLayout" Target="../slideLayouts/slideLayout317.xml"/><Relationship Id="rId6" Type="http://schemas.openxmlformats.org/officeDocument/2006/relationships/slideLayout" Target="../slideLayouts/slideLayout322.xml"/><Relationship Id="rId11" Type="http://schemas.openxmlformats.org/officeDocument/2006/relationships/slideLayout" Target="../slideLayouts/slideLayout327.xml"/><Relationship Id="rId5" Type="http://schemas.openxmlformats.org/officeDocument/2006/relationships/slideLayout" Target="../slideLayouts/slideLayout321.xml"/><Relationship Id="rId10" Type="http://schemas.openxmlformats.org/officeDocument/2006/relationships/slideLayout" Target="../slideLayouts/slideLayout326.xml"/><Relationship Id="rId4" Type="http://schemas.openxmlformats.org/officeDocument/2006/relationships/slideLayout" Target="../slideLayouts/slideLayout320.xml"/><Relationship Id="rId9" Type="http://schemas.openxmlformats.org/officeDocument/2006/relationships/slideLayout" Target="../slideLayouts/slideLayout325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5.xml"/><Relationship Id="rId13" Type="http://schemas.openxmlformats.org/officeDocument/2006/relationships/theme" Target="../theme/theme29.xml"/><Relationship Id="rId3" Type="http://schemas.openxmlformats.org/officeDocument/2006/relationships/slideLayout" Target="../slideLayouts/slideLayout330.xml"/><Relationship Id="rId7" Type="http://schemas.openxmlformats.org/officeDocument/2006/relationships/slideLayout" Target="../slideLayouts/slideLayout334.xml"/><Relationship Id="rId12" Type="http://schemas.openxmlformats.org/officeDocument/2006/relationships/slideLayout" Target="../slideLayouts/slideLayout339.xml"/><Relationship Id="rId2" Type="http://schemas.openxmlformats.org/officeDocument/2006/relationships/slideLayout" Target="../slideLayouts/slideLayout329.xml"/><Relationship Id="rId1" Type="http://schemas.openxmlformats.org/officeDocument/2006/relationships/slideLayout" Target="../slideLayouts/slideLayout328.xml"/><Relationship Id="rId6" Type="http://schemas.openxmlformats.org/officeDocument/2006/relationships/slideLayout" Target="../slideLayouts/slideLayout333.xml"/><Relationship Id="rId11" Type="http://schemas.openxmlformats.org/officeDocument/2006/relationships/slideLayout" Target="../slideLayouts/slideLayout338.xml"/><Relationship Id="rId5" Type="http://schemas.openxmlformats.org/officeDocument/2006/relationships/slideLayout" Target="../slideLayouts/slideLayout332.xml"/><Relationship Id="rId10" Type="http://schemas.openxmlformats.org/officeDocument/2006/relationships/slideLayout" Target="../slideLayouts/slideLayout337.xml"/><Relationship Id="rId4" Type="http://schemas.openxmlformats.org/officeDocument/2006/relationships/slideLayout" Target="../slideLayouts/slideLayout331.xml"/><Relationship Id="rId9" Type="http://schemas.openxmlformats.org/officeDocument/2006/relationships/slideLayout" Target="../slideLayouts/slideLayout33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7.xml"/><Relationship Id="rId3" Type="http://schemas.openxmlformats.org/officeDocument/2006/relationships/slideLayout" Target="../slideLayouts/slideLayout342.xml"/><Relationship Id="rId7" Type="http://schemas.openxmlformats.org/officeDocument/2006/relationships/slideLayout" Target="../slideLayouts/slideLayout346.xml"/><Relationship Id="rId12" Type="http://schemas.openxmlformats.org/officeDocument/2006/relationships/theme" Target="../theme/theme30.xml"/><Relationship Id="rId2" Type="http://schemas.openxmlformats.org/officeDocument/2006/relationships/slideLayout" Target="../slideLayouts/slideLayout341.xml"/><Relationship Id="rId1" Type="http://schemas.openxmlformats.org/officeDocument/2006/relationships/slideLayout" Target="../slideLayouts/slideLayout340.xml"/><Relationship Id="rId6" Type="http://schemas.openxmlformats.org/officeDocument/2006/relationships/slideLayout" Target="../slideLayouts/slideLayout345.xml"/><Relationship Id="rId11" Type="http://schemas.openxmlformats.org/officeDocument/2006/relationships/slideLayout" Target="../slideLayouts/slideLayout350.xml"/><Relationship Id="rId5" Type="http://schemas.openxmlformats.org/officeDocument/2006/relationships/slideLayout" Target="../slideLayouts/slideLayout344.xml"/><Relationship Id="rId10" Type="http://schemas.openxmlformats.org/officeDocument/2006/relationships/slideLayout" Target="../slideLayouts/slideLayout349.xml"/><Relationship Id="rId4" Type="http://schemas.openxmlformats.org/officeDocument/2006/relationships/slideLayout" Target="../slideLayouts/slideLayout343.xml"/><Relationship Id="rId9" Type="http://schemas.openxmlformats.org/officeDocument/2006/relationships/slideLayout" Target="../slideLayouts/slideLayout348.xml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8.xml"/><Relationship Id="rId13" Type="http://schemas.openxmlformats.org/officeDocument/2006/relationships/slideLayout" Target="../slideLayouts/slideLayout363.xml"/><Relationship Id="rId18" Type="http://schemas.openxmlformats.org/officeDocument/2006/relationships/slideLayout" Target="../slideLayouts/slideLayout368.xml"/><Relationship Id="rId3" Type="http://schemas.openxmlformats.org/officeDocument/2006/relationships/slideLayout" Target="../slideLayouts/slideLayout353.xml"/><Relationship Id="rId21" Type="http://schemas.openxmlformats.org/officeDocument/2006/relationships/slideLayout" Target="../slideLayouts/slideLayout371.xml"/><Relationship Id="rId7" Type="http://schemas.openxmlformats.org/officeDocument/2006/relationships/slideLayout" Target="../slideLayouts/slideLayout357.xml"/><Relationship Id="rId12" Type="http://schemas.openxmlformats.org/officeDocument/2006/relationships/slideLayout" Target="../slideLayouts/slideLayout362.xml"/><Relationship Id="rId17" Type="http://schemas.openxmlformats.org/officeDocument/2006/relationships/slideLayout" Target="../slideLayouts/slideLayout367.xml"/><Relationship Id="rId2" Type="http://schemas.openxmlformats.org/officeDocument/2006/relationships/slideLayout" Target="../slideLayouts/slideLayout352.xml"/><Relationship Id="rId16" Type="http://schemas.openxmlformats.org/officeDocument/2006/relationships/slideLayout" Target="../slideLayouts/slideLayout366.xml"/><Relationship Id="rId20" Type="http://schemas.openxmlformats.org/officeDocument/2006/relationships/slideLayout" Target="../slideLayouts/slideLayout370.xml"/><Relationship Id="rId1" Type="http://schemas.openxmlformats.org/officeDocument/2006/relationships/slideLayout" Target="../slideLayouts/slideLayout351.xml"/><Relationship Id="rId6" Type="http://schemas.openxmlformats.org/officeDocument/2006/relationships/slideLayout" Target="../slideLayouts/slideLayout356.xml"/><Relationship Id="rId11" Type="http://schemas.openxmlformats.org/officeDocument/2006/relationships/slideLayout" Target="../slideLayouts/slideLayout361.xml"/><Relationship Id="rId5" Type="http://schemas.openxmlformats.org/officeDocument/2006/relationships/slideLayout" Target="../slideLayouts/slideLayout355.xml"/><Relationship Id="rId15" Type="http://schemas.openxmlformats.org/officeDocument/2006/relationships/slideLayout" Target="../slideLayouts/slideLayout365.xml"/><Relationship Id="rId23" Type="http://schemas.openxmlformats.org/officeDocument/2006/relationships/theme" Target="../theme/theme31.xml"/><Relationship Id="rId10" Type="http://schemas.openxmlformats.org/officeDocument/2006/relationships/slideLayout" Target="../slideLayouts/slideLayout360.xml"/><Relationship Id="rId19" Type="http://schemas.openxmlformats.org/officeDocument/2006/relationships/slideLayout" Target="../slideLayouts/slideLayout369.xml"/><Relationship Id="rId4" Type="http://schemas.openxmlformats.org/officeDocument/2006/relationships/slideLayout" Target="../slideLayouts/slideLayout354.xml"/><Relationship Id="rId9" Type="http://schemas.openxmlformats.org/officeDocument/2006/relationships/slideLayout" Target="../slideLayouts/slideLayout359.xml"/><Relationship Id="rId14" Type="http://schemas.openxmlformats.org/officeDocument/2006/relationships/slideLayout" Target="../slideLayouts/slideLayout364.xml"/><Relationship Id="rId22" Type="http://schemas.openxmlformats.org/officeDocument/2006/relationships/slideLayout" Target="../slideLayouts/slideLayout372.xml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0.xml"/><Relationship Id="rId3" Type="http://schemas.openxmlformats.org/officeDocument/2006/relationships/slideLayout" Target="../slideLayouts/slideLayout375.xml"/><Relationship Id="rId7" Type="http://schemas.openxmlformats.org/officeDocument/2006/relationships/slideLayout" Target="../slideLayouts/slideLayout379.xml"/><Relationship Id="rId12" Type="http://schemas.openxmlformats.org/officeDocument/2006/relationships/theme" Target="../theme/theme32.xml"/><Relationship Id="rId2" Type="http://schemas.openxmlformats.org/officeDocument/2006/relationships/slideLayout" Target="../slideLayouts/slideLayout374.xml"/><Relationship Id="rId1" Type="http://schemas.openxmlformats.org/officeDocument/2006/relationships/slideLayout" Target="../slideLayouts/slideLayout373.xml"/><Relationship Id="rId6" Type="http://schemas.openxmlformats.org/officeDocument/2006/relationships/slideLayout" Target="../slideLayouts/slideLayout378.xml"/><Relationship Id="rId11" Type="http://schemas.openxmlformats.org/officeDocument/2006/relationships/slideLayout" Target="../slideLayouts/slideLayout383.xml"/><Relationship Id="rId5" Type="http://schemas.openxmlformats.org/officeDocument/2006/relationships/slideLayout" Target="../slideLayouts/slideLayout377.xml"/><Relationship Id="rId10" Type="http://schemas.openxmlformats.org/officeDocument/2006/relationships/slideLayout" Target="../slideLayouts/slideLayout382.xml"/><Relationship Id="rId4" Type="http://schemas.openxmlformats.org/officeDocument/2006/relationships/slideLayout" Target="../slideLayouts/slideLayout376.xml"/><Relationship Id="rId9" Type="http://schemas.openxmlformats.org/officeDocument/2006/relationships/slideLayout" Target="../slideLayouts/slideLayout381.xml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1.xml"/><Relationship Id="rId3" Type="http://schemas.openxmlformats.org/officeDocument/2006/relationships/slideLayout" Target="../slideLayouts/slideLayout386.xml"/><Relationship Id="rId7" Type="http://schemas.openxmlformats.org/officeDocument/2006/relationships/slideLayout" Target="../slideLayouts/slideLayout390.xml"/><Relationship Id="rId12" Type="http://schemas.openxmlformats.org/officeDocument/2006/relationships/theme" Target="../theme/theme33.xml"/><Relationship Id="rId2" Type="http://schemas.openxmlformats.org/officeDocument/2006/relationships/slideLayout" Target="../slideLayouts/slideLayout385.xml"/><Relationship Id="rId1" Type="http://schemas.openxmlformats.org/officeDocument/2006/relationships/slideLayout" Target="../slideLayouts/slideLayout384.xml"/><Relationship Id="rId6" Type="http://schemas.openxmlformats.org/officeDocument/2006/relationships/slideLayout" Target="../slideLayouts/slideLayout389.xml"/><Relationship Id="rId11" Type="http://schemas.openxmlformats.org/officeDocument/2006/relationships/slideLayout" Target="../slideLayouts/slideLayout394.xml"/><Relationship Id="rId5" Type="http://schemas.openxmlformats.org/officeDocument/2006/relationships/slideLayout" Target="../slideLayouts/slideLayout388.xml"/><Relationship Id="rId10" Type="http://schemas.openxmlformats.org/officeDocument/2006/relationships/slideLayout" Target="../slideLayouts/slideLayout393.xml"/><Relationship Id="rId4" Type="http://schemas.openxmlformats.org/officeDocument/2006/relationships/slideLayout" Target="../slideLayouts/slideLayout387.xml"/><Relationship Id="rId9" Type="http://schemas.openxmlformats.org/officeDocument/2006/relationships/slideLayout" Target="../slideLayouts/slideLayout392.xml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2.xml"/><Relationship Id="rId3" Type="http://schemas.openxmlformats.org/officeDocument/2006/relationships/slideLayout" Target="../slideLayouts/slideLayout397.xml"/><Relationship Id="rId7" Type="http://schemas.openxmlformats.org/officeDocument/2006/relationships/slideLayout" Target="../slideLayouts/slideLayout401.xml"/><Relationship Id="rId12" Type="http://schemas.openxmlformats.org/officeDocument/2006/relationships/theme" Target="../theme/theme34.xml"/><Relationship Id="rId2" Type="http://schemas.openxmlformats.org/officeDocument/2006/relationships/slideLayout" Target="../slideLayouts/slideLayout396.xml"/><Relationship Id="rId1" Type="http://schemas.openxmlformats.org/officeDocument/2006/relationships/slideLayout" Target="../slideLayouts/slideLayout395.xml"/><Relationship Id="rId6" Type="http://schemas.openxmlformats.org/officeDocument/2006/relationships/slideLayout" Target="../slideLayouts/slideLayout400.xml"/><Relationship Id="rId11" Type="http://schemas.openxmlformats.org/officeDocument/2006/relationships/slideLayout" Target="../slideLayouts/slideLayout405.xml"/><Relationship Id="rId5" Type="http://schemas.openxmlformats.org/officeDocument/2006/relationships/slideLayout" Target="../slideLayouts/slideLayout399.xml"/><Relationship Id="rId10" Type="http://schemas.openxmlformats.org/officeDocument/2006/relationships/slideLayout" Target="../slideLayouts/slideLayout404.xml"/><Relationship Id="rId4" Type="http://schemas.openxmlformats.org/officeDocument/2006/relationships/slideLayout" Target="../slideLayouts/slideLayout398.xml"/><Relationship Id="rId9" Type="http://schemas.openxmlformats.org/officeDocument/2006/relationships/slideLayout" Target="../slideLayouts/slideLayout403.xml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3.xml"/><Relationship Id="rId3" Type="http://schemas.openxmlformats.org/officeDocument/2006/relationships/slideLayout" Target="../slideLayouts/slideLayout408.xml"/><Relationship Id="rId7" Type="http://schemas.openxmlformats.org/officeDocument/2006/relationships/slideLayout" Target="../slideLayouts/slideLayout412.xml"/><Relationship Id="rId12" Type="http://schemas.openxmlformats.org/officeDocument/2006/relationships/theme" Target="../theme/theme35.xml"/><Relationship Id="rId2" Type="http://schemas.openxmlformats.org/officeDocument/2006/relationships/slideLayout" Target="../slideLayouts/slideLayout407.xml"/><Relationship Id="rId1" Type="http://schemas.openxmlformats.org/officeDocument/2006/relationships/slideLayout" Target="../slideLayouts/slideLayout406.xml"/><Relationship Id="rId6" Type="http://schemas.openxmlformats.org/officeDocument/2006/relationships/slideLayout" Target="../slideLayouts/slideLayout411.xml"/><Relationship Id="rId11" Type="http://schemas.openxmlformats.org/officeDocument/2006/relationships/slideLayout" Target="../slideLayouts/slideLayout416.xml"/><Relationship Id="rId5" Type="http://schemas.openxmlformats.org/officeDocument/2006/relationships/slideLayout" Target="../slideLayouts/slideLayout410.xml"/><Relationship Id="rId10" Type="http://schemas.openxmlformats.org/officeDocument/2006/relationships/slideLayout" Target="../slideLayouts/slideLayout415.xml"/><Relationship Id="rId4" Type="http://schemas.openxmlformats.org/officeDocument/2006/relationships/slideLayout" Target="../slideLayouts/slideLayout409.xml"/><Relationship Id="rId9" Type="http://schemas.openxmlformats.org/officeDocument/2006/relationships/slideLayout" Target="../slideLayouts/slideLayout414.xml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4.xml"/><Relationship Id="rId13" Type="http://schemas.openxmlformats.org/officeDocument/2006/relationships/theme" Target="../theme/theme36.xml"/><Relationship Id="rId3" Type="http://schemas.openxmlformats.org/officeDocument/2006/relationships/slideLayout" Target="../slideLayouts/slideLayout419.xml"/><Relationship Id="rId7" Type="http://schemas.openxmlformats.org/officeDocument/2006/relationships/slideLayout" Target="../slideLayouts/slideLayout423.xml"/><Relationship Id="rId12" Type="http://schemas.openxmlformats.org/officeDocument/2006/relationships/slideLayout" Target="../slideLayouts/slideLayout428.xml"/><Relationship Id="rId2" Type="http://schemas.openxmlformats.org/officeDocument/2006/relationships/slideLayout" Target="../slideLayouts/slideLayout418.xml"/><Relationship Id="rId1" Type="http://schemas.openxmlformats.org/officeDocument/2006/relationships/slideLayout" Target="../slideLayouts/slideLayout417.xml"/><Relationship Id="rId6" Type="http://schemas.openxmlformats.org/officeDocument/2006/relationships/slideLayout" Target="../slideLayouts/slideLayout422.xml"/><Relationship Id="rId11" Type="http://schemas.openxmlformats.org/officeDocument/2006/relationships/slideLayout" Target="../slideLayouts/slideLayout427.xml"/><Relationship Id="rId5" Type="http://schemas.openxmlformats.org/officeDocument/2006/relationships/slideLayout" Target="../slideLayouts/slideLayout421.xml"/><Relationship Id="rId10" Type="http://schemas.openxmlformats.org/officeDocument/2006/relationships/slideLayout" Target="../slideLayouts/slideLayout426.xml"/><Relationship Id="rId4" Type="http://schemas.openxmlformats.org/officeDocument/2006/relationships/slideLayout" Target="../slideLayouts/slideLayout420.xml"/><Relationship Id="rId9" Type="http://schemas.openxmlformats.org/officeDocument/2006/relationships/slideLayout" Target="../slideLayouts/slideLayout42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3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8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96.xml"/><Relationship Id="rId10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07.xml"/><Relationship Id="rId10" Type="http://schemas.openxmlformats.org/officeDocument/2006/relationships/slideLayout" Target="../slideLayouts/slideLayout112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dk2" tx1="lt1" bg2="dk1" tx2="lt2" accent1="accent1" accent2="accent2" accent3="accent3" accent4="accent4" accent5="accent5" accent6="accent6" hlink="hlink" folHlink="folHlink"/>
  <p:sldLayoutIdLst>
    <p:sldLayoutId id="2147484222" r:id="rId1"/>
    <p:sldLayoutId id="2147484210" r:id="rId2"/>
    <p:sldLayoutId id="2147484211" r:id="rId3"/>
    <p:sldLayoutId id="2147484212" r:id="rId4"/>
    <p:sldLayoutId id="2147484213" r:id="rId5"/>
    <p:sldLayoutId id="2147484214" r:id="rId6"/>
    <p:sldLayoutId id="2147484215" r:id="rId7"/>
    <p:sldLayoutId id="2147484216" r:id="rId8"/>
    <p:sldLayoutId id="2147484217" r:id="rId9"/>
    <p:sldLayoutId id="2147484218" r:id="rId10"/>
    <p:sldLayoutId id="2147484219" r:id="rId11"/>
    <p:sldLayoutId id="2147484220" r:id="rId12"/>
    <p:sldLayoutId id="2147484221" r:id="rId13"/>
  </p:sldLayoutIdLst>
  <p:transition>
    <p:fade/>
  </p:transition>
  <p:hf hdr="0" ftr="0" dt="0"/>
  <p:txStyles>
    <p:titleStyle>
      <a:lvl1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2pPr>
      <a:lvl3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3pPr>
      <a:lvl4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4pPr>
      <a:lvl5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5pPr>
      <a:lvl6pPr marL="4572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6pPr>
      <a:lvl7pPr marL="9144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7pPr>
      <a:lvl8pPr marL="13716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8pPr>
      <a:lvl9pPr marL="18288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9pPr>
    </p:titleStyle>
    <p:bodyStyle>
      <a:lvl1pPr marL="396875" indent="-396875" algn="l" defTabSz="9128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Blip>
          <a:blip r:embed="rId16"/>
        </a:buBlip>
        <a:defRPr sz="3200">
          <a:solidFill>
            <a:schemeClr val="bg1"/>
          </a:solidFill>
          <a:latin typeface="+mn-lt"/>
          <a:ea typeface="+mn-ea"/>
          <a:cs typeface="+mn-cs"/>
        </a:defRPr>
      </a:lvl1pPr>
      <a:lvl2pPr marL="914400" indent="-396875" algn="l" defTabSz="9128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800">
          <a:solidFill>
            <a:schemeClr val="bg1"/>
          </a:solidFill>
          <a:latin typeface="+mn-lt"/>
        </a:defRPr>
      </a:lvl2pPr>
      <a:lvl3pPr marL="1258888" indent="-344488" algn="l" defTabSz="9128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400">
          <a:solidFill>
            <a:schemeClr val="bg1"/>
          </a:solidFill>
          <a:latin typeface="+mn-lt"/>
        </a:defRPr>
      </a:lvl3pPr>
      <a:lvl4pPr marL="1604963" indent="-346075" algn="l" defTabSz="9128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400">
          <a:solidFill>
            <a:schemeClr val="bg1"/>
          </a:solidFill>
          <a:latin typeface="+mn-lt"/>
        </a:defRPr>
      </a:lvl4pPr>
      <a:lvl5pPr marL="1941513" indent="-336550" algn="l" defTabSz="9128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400">
          <a:solidFill>
            <a:schemeClr val="bg1"/>
          </a:solidFill>
          <a:latin typeface="+mn-lt"/>
        </a:defRPr>
      </a:lvl5pPr>
      <a:lvl6pPr marL="2398713" indent="-336550" algn="l" defTabSz="912813" rtl="0" fontAlgn="base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400">
          <a:solidFill>
            <a:schemeClr val="bg1"/>
          </a:solidFill>
          <a:latin typeface="+mn-lt"/>
        </a:defRPr>
      </a:lvl6pPr>
      <a:lvl7pPr marL="2855913" indent="-336550" algn="l" defTabSz="912813" rtl="0" fontAlgn="base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400">
          <a:solidFill>
            <a:schemeClr val="bg1"/>
          </a:solidFill>
          <a:latin typeface="+mn-lt"/>
        </a:defRPr>
      </a:lvl7pPr>
      <a:lvl8pPr marL="3313113" indent="-336550" algn="l" defTabSz="912813" rtl="0" fontAlgn="base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400">
          <a:solidFill>
            <a:schemeClr val="bg1"/>
          </a:solidFill>
          <a:latin typeface="+mn-lt"/>
        </a:defRPr>
      </a:lvl8pPr>
      <a:lvl9pPr marL="3770313" indent="-336550" algn="l" defTabSz="912813" rtl="0" fontAlgn="base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400">
          <a:solidFill>
            <a:schemeClr val="bg1"/>
          </a:solidFill>
          <a:latin typeface="+mn-lt"/>
        </a:defRPr>
      </a:lvl9pPr>
    </p:bodyStyle>
    <p:otherStyle>
      <a:defPPr>
        <a:defRPr lang="bg-BG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1523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2" r:id="rId1"/>
    <p:sldLayoutId id="2147484323" r:id="rId2"/>
    <p:sldLayoutId id="2147484324" r:id="rId3"/>
    <p:sldLayoutId id="2147484325" r:id="rId4"/>
    <p:sldLayoutId id="2147484326" r:id="rId5"/>
    <p:sldLayoutId id="2147484327" r:id="rId6"/>
    <p:sldLayoutId id="2147484328" r:id="rId7"/>
    <p:sldLayoutId id="2147484329" r:id="rId8"/>
    <p:sldLayoutId id="2147484330" r:id="rId9"/>
    <p:sldLayoutId id="2147484331" r:id="rId10"/>
    <p:sldLayoutId id="2147484332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8131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4" r:id="rId1"/>
    <p:sldLayoutId id="2147484335" r:id="rId2"/>
    <p:sldLayoutId id="2147484336" r:id="rId3"/>
    <p:sldLayoutId id="2147484337" r:id="rId4"/>
    <p:sldLayoutId id="2147484338" r:id="rId5"/>
    <p:sldLayoutId id="2147484339" r:id="rId6"/>
    <p:sldLayoutId id="2147484340" r:id="rId7"/>
    <p:sldLayoutId id="2147484341" r:id="rId8"/>
    <p:sldLayoutId id="2147484342" r:id="rId9"/>
    <p:sldLayoutId id="2147484343" r:id="rId10"/>
    <p:sldLayoutId id="2147484344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79297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6" r:id="rId1"/>
    <p:sldLayoutId id="2147484347" r:id="rId2"/>
    <p:sldLayoutId id="2147484348" r:id="rId3"/>
    <p:sldLayoutId id="2147484349" r:id="rId4"/>
    <p:sldLayoutId id="2147484350" r:id="rId5"/>
    <p:sldLayoutId id="2147484351" r:id="rId6"/>
    <p:sldLayoutId id="2147484352" r:id="rId7"/>
    <p:sldLayoutId id="2147484353" r:id="rId8"/>
    <p:sldLayoutId id="2147484354" r:id="rId9"/>
    <p:sldLayoutId id="2147484355" r:id="rId10"/>
    <p:sldLayoutId id="2147484356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8435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8" r:id="rId1"/>
    <p:sldLayoutId id="2147484359" r:id="rId2"/>
    <p:sldLayoutId id="2147484360" r:id="rId3"/>
    <p:sldLayoutId id="2147484361" r:id="rId4"/>
    <p:sldLayoutId id="2147484362" r:id="rId5"/>
    <p:sldLayoutId id="2147484363" r:id="rId6"/>
    <p:sldLayoutId id="2147484364" r:id="rId7"/>
    <p:sldLayoutId id="2147484365" r:id="rId8"/>
    <p:sldLayoutId id="2147484366" r:id="rId9"/>
    <p:sldLayoutId id="2147484367" r:id="rId10"/>
    <p:sldLayoutId id="2147484368" r:id="rId11"/>
    <p:sldLayoutId id="2147484369" r:id="rId12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03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1" r:id="rId1"/>
    <p:sldLayoutId id="2147484372" r:id="rId2"/>
    <p:sldLayoutId id="2147484373" r:id="rId3"/>
    <p:sldLayoutId id="2147484374" r:id="rId4"/>
    <p:sldLayoutId id="2147484375" r:id="rId5"/>
    <p:sldLayoutId id="2147484376" r:id="rId6"/>
    <p:sldLayoutId id="2147484377" r:id="rId7"/>
    <p:sldLayoutId id="2147484378" r:id="rId8"/>
    <p:sldLayoutId id="2147484379" r:id="rId9"/>
    <p:sldLayoutId id="2147484380" r:id="rId10"/>
    <p:sldLayoutId id="2147484381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2955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3" r:id="rId1"/>
    <p:sldLayoutId id="2147484384" r:id="rId2"/>
    <p:sldLayoutId id="2147484385" r:id="rId3"/>
    <p:sldLayoutId id="2147484386" r:id="rId4"/>
    <p:sldLayoutId id="2147484387" r:id="rId5"/>
    <p:sldLayoutId id="2147484388" r:id="rId6"/>
    <p:sldLayoutId id="2147484389" r:id="rId7"/>
    <p:sldLayoutId id="2147484390" r:id="rId8"/>
    <p:sldLayoutId id="2147484391" r:id="rId9"/>
    <p:sldLayoutId id="2147484392" r:id="rId10"/>
    <p:sldLayoutId id="2147484393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5371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5" r:id="rId1"/>
    <p:sldLayoutId id="2147484396" r:id="rId2"/>
    <p:sldLayoutId id="2147484397" r:id="rId3"/>
    <p:sldLayoutId id="2147484398" r:id="rId4"/>
    <p:sldLayoutId id="2147484399" r:id="rId5"/>
    <p:sldLayoutId id="2147484400" r:id="rId6"/>
    <p:sldLayoutId id="2147484401" r:id="rId7"/>
    <p:sldLayoutId id="2147484402" r:id="rId8"/>
    <p:sldLayoutId id="2147484403" r:id="rId9"/>
    <p:sldLayoutId id="2147484404" r:id="rId10"/>
    <p:sldLayoutId id="2147484405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5311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7" r:id="rId1"/>
    <p:sldLayoutId id="2147484408" r:id="rId2"/>
    <p:sldLayoutId id="2147484409" r:id="rId3"/>
    <p:sldLayoutId id="2147484410" r:id="rId4"/>
    <p:sldLayoutId id="2147484411" r:id="rId5"/>
    <p:sldLayoutId id="2147484412" r:id="rId6"/>
    <p:sldLayoutId id="2147484413" r:id="rId7"/>
    <p:sldLayoutId id="2147484414" r:id="rId8"/>
    <p:sldLayoutId id="2147484415" r:id="rId9"/>
    <p:sldLayoutId id="2147484416" r:id="rId10"/>
    <p:sldLayoutId id="2147484417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9181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9" r:id="rId1"/>
    <p:sldLayoutId id="2147484420" r:id="rId2"/>
    <p:sldLayoutId id="2147484421" r:id="rId3"/>
    <p:sldLayoutId id="2147484422" r:id="rId4"/>
    <p:sldLayoutId id="2147484423" r:id="rId5"/>
    <p:sldLayoutId id="2147484424" r:id="rId6"/>
    <p:sldLayoutId id="2147484425" r:id="rId7"/>
    <p:sldLayoutId id="2147484426" r:id="rId8"/>
    <p:sldLayoutId id="2147484427" r:id="rId9"/>
    <p:sldLayoutId id="2147484428" r:id="rId10"/>
    <p:sldLayoutId id="2147484429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8168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1" r:id="rId1"/>
    <p:sldLayoutId id="2147484432" r:id="rId2"/>
    <p:sldLayoutId id="2147484433" r:id="rId3"/>
    <p:sldLayoutId id="2147484434" r:id="rId4"/>
    <p:sldLayoutId id="2147484435" r:id="rId5"/>
    <p:sldLayoutId id="2147484436" r:id="rId6"/>
    <p:sldLayoutId id="2147484437" r:id="rId7"/>
    <p:sldLayoutId id="2147484438" r:id="rId8"/>
    <p:sldLayoutId id="2147484439" r:id="rId9"/>
    <p:sldLayoutId id="2147484440" r:id="rId10"/>
    <p:sldLayoutId id="2147484441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/>
              <a:pPr/>
              <a:t>5.12.2017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24" r:id="rId1"/>
    <p:sldLayoutId id="2147484225" r:id="rId2"/>
    <p:sldLayoutId id="2147484226" r:id="rId3"/>
    <p:sldLayoutId id="2147484227" r:id="rId4"/>
    <p:sldLayoutId id="2147484228" r:id="rId5"/>
    <p:sldLayoutId id="2147484229" r:id="rId6"/>
    <p:sldLayoutId id="2147484230" r:id="rId7"/>
    <p:sldLayoutId id="2147484231" r:id="rId8"/>
    <p:sldLayoutId id="2147484232" r:id="rId9"/>
    <p:sldLayoutId id="2147484233" r:id="rId10"/>
    <p:sldLayoutId id="2147484234" r:id="rId11"/>
    <p:sldLayoutId id="2147484235" r:id="rId12"/>
    <p:sldLayoutId id="2147484752" r:id="rId13"/>
    <p:sldLayoutId id="2147484753" r:id="rId14"/>
    <p:sldLayoutId id="2147484754" r:id="rId15"/>
    <p:sldLayoutId id="2147484755" r:id="rId16"/>
    <p:sldLayoutId id="2147484757" r:id="rId17"/>
    <p:sldLayoutId id="2147484760" r:id="rId18"/>
    <p:sldLayoutId id="2147484761" r:id="rId19"/>
    <p:sldLayoutId id="2147484762" r:id="rId20"/>
    <p:sldLayoutId id="2147484763" r:id="rId21"/>
    <p:sldLayoutId id="2147484764" r:id="rId22"/>
    <p:sldLayoutId id="2147484765" r:id="rId23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8598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3" r:id="rId1"/>
    <p:sldLayoutId id="2147484444" r:id="rId2"/>
    <p:sldLayoutId id="2147484445" r:id="rId3"/>
    <p:sldLayoutId id="2147484446" r:id="rId4"/>
    <p:sldLayoutId id="2147484447" r:id="rId5"/>
    <p:sldLayoutId id="2147484448" r:id="rId6"/>
    <p:sldLayoutId id="2147484449" r:id="rId7"/>
    <p:sldLayoutId id="2147484450" r:id="rId8"/>
    <p:sldLayoutId id="2147484451" r:id="rId9"/>
    <p:sldLayoutId id="2147484452" r:id="rId10"/>
    <p:sldLayoutId id="2147484453" r:id="rId11"/>
    <p:sldLayoutId id="2147484454" r:id="rId12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7683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6" r:id="rId1"/>
    <p:sldLayoutId id="2147484517" r:id="rId2"/>
    <p:sldLayoutId id="2147484518" r:id="rId3"/>
    <p:sldLayoutId id="2147484519" r:id="rId4"/>
    <p:sldLayoutId id="2147484520" r:id="rId5"/>
    <p:sldLayoutId id="2147484521" r:id="rId6"/>
    <p:sldLayoutId id="2147484522" r:id="rId7"/>
    <p:sldLayoutId id="2147484523" r:id="rId8"/>
    <p:sldLayoutId id="2147484524" r:id="rId9"/>
    <p:sldLayoutId id="2147484525" r:id="rId10"/>
    <p:sldLayoutId id="2147484526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6779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28" r:id="rId1"/>
    <p:sldLayoutId id="2147484529" r:id="rId2"/>
    <p:sldLayoutId id="2147484530" r:id="rId3"/>
    <p:sldLayoutId id="2147484531" r:id="rId4"/>
    <p:sldLayoutId id="2147484532" r:id="rId5"/>
    <p:sldLayoutId id="2147484533" r:id="rId6"/>
    <p:sldLayoutId id="2147484534" r:id="rId7"/>
    <p:sldLayoutId id="2147484535" r:id="rId8"/>
    <p:sldLayoutId id="2147484536" r:id="rId9"/>
    <p:sldLayoutId id="2147484537" r:id="rId10"/>
    <p:sldLayoutId id="2147484538" r:id="rId11"/>
    <p:sldLayoutId id="2147484539" r:id="rId12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49222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1" r:id="rId1"/>
    <p:sldLayoutId id="2147484542" r:id="rId2"/>
    <p:sldLayoutId id="2147484543" r:id="rId3"/>
    <p:sldLayoutId id="2147484544" r:id="rId4"/>
    <p:sldLayoutId id="2147484545" r:id="rId5"/>
    <p:sldLayoutId id="2147484546" r:id="rId6"/>
    <p:sldLayoutId id="2147484547" r:id="rId7"/>
    <p:sldLayoutId id="2147484548" r:id="rId8"/>
    <p:sldLayoutId id="2147484549" r:id="rId9"/>
    <p:sldLayoutId id="2147484550" r:id="rId10"/>
    <p:sldLayoutId id="2147484551" r:id="rId11"/>
    <p:sldLayoutId id="2147484552" r:id="rId12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42424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8" r:id="rId1"/>
    <p:sldLayoutId id="2147484579" r:id="rId2"/>
    <p:sldLayoutId id="2147484580" r:id="rId3"/>
    <p:sldLayoutId id="2147484581" r:id="rId4"/>
    <p:sldLayoutId id="2147484582" r:id="rId5"/>
    <p:sldLayoutId id="2147484583" r:id="rId6"/>
    <p:sldLayoutId id="2147484584" r:id="rId7"/>
    <p:sldLayoutId id="2147484585" r:id="rId8"/>
    <p:sldLayoutId id="2147484586" r:id="rId9"/>
    <p:sldLayoutId id="2147484587" r:id="rId10"/>
    <p:sldLayoutId id="2147484588" r:id="rId11"/>
    <p:sldLayoutId id="2147484589" r:id="rId12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0110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1" r:id="rId1"/>
    <p:sldLayoutId id="2147484592" r:id="rId2"/>
    <p:sldLayoutId id="2147484593" r:id="rId3"/>
    <p:sldLayoutId id="2147484594" r:id="rId4"/>
    <p:sldLayoutId id="2147484595" r:id="rId5"/>
    <p:sldLayoutId id="2147484596" r:id="rId6"/>
    <p:sldLayoutId id="2147484597" r:id="rId7"/>
    <p:sldLayoutId id="2147484598" r:id="rId8"/>
    <p:sldLayoutId id="2147484599" r:id="rId9"/>
    <p:sldLayoutId id="2147484600" r:id="rId10"/>
    <p:sldLayoutId id="2147484601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3981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03" r:id="rId1"/>
    <p:sldLayoutId id="2147484604" r:id="rId2"/>
    <p:sldLayoutId id="2147484605" r:id="rId3"/>
    <p:sldLayoutId id="2147484606" r:id="rId4"/>
    <p:sldLayoutId id="2147484607" r:id="rId5"/>
    <p:sldLayoutId id="2147484608" r:id="rId6"/>
    <p:sldLayoutId id="2147484609" r:id="rId7"/>
    <p:sldLayoutId id="2147484610" r:id="rId8"/>
    <p:sldLayoutId id="2147484611" r:id="rId9"/>
    <p:sldLayoutId id="2147484612" r:id="rId10"/>
    <p:sldLayoutId id="214748461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23637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5" r:id="rId1"/>
    <p:sldLayoutId id="2147484616" r:id="rId2"/>
    <p:sldLayoutId id="2147484617" r:id="rId3"/>
    <p:sldLayoutId id="2147484618" r:id="rId4"/>
    <p:sldLayoutId id="2147484619" r:id="rId5"/>
    <p:sldLayoutId id="2147484620" r:id="rId6"/>
    <p:sldLayoutId id="2147484621" r:id="rId7"/>
    <p:sldLayoutId id="2147484622" r:id="rId8"/>
    <p:sldLayoutId id="2147484623" r:id="rId9"/>
    <p:sldLayoutId id="2147484624" r:id="rId10"/>
    <p:sldLayoutId id="2147484625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1458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27" r:id="rId1"/>
    <p:sldLayoutId id="2147484628" r:id="rId2"/>
    <p:sldLayoutId id="2147484629" r:id="rId3"/>
    <p:sldLayoutId id="2147484630" r:id="rId4"/>
    <p:sldLayoutId id="2147484631" r:id="rId5"/>
    <p:sldLayoutId id="2147484632" r:id="rId6"/>
    <p:sldLayoutId id="2147484633" r:id="rId7"/>
    <p:sldLayoutId id="2147484634" r:id="rId8"/>
    <p:sldLayoutId id="2147484635" r:id="rId9"/>
    <p:sldLayoutId id="2147484636" r:id="rId10"/>
    <p:sldLayoutId id="2147484637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16970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9" r:id="rId1"/>
    <p:sldLayoutId id="2147484640" r:id="rId2"/>
    <p:sldLayoutId id="2147484641" r:id="rId3"/>
    <p:sldLayoutId id="2147484642" r:id="rId4"/>
    <p:sldLayoutId id="2147484643" r:id="rId5"/>
    <p:sldLayoutId id="2147484644" r:id="rId6"/>
    <p:sldLayoutId id="2147484645" r:id="rId7"/>
    <p:sldLayoutId id="2147484646" r:id="rId8"/>
    <p:sldLayoutId id="2147484647" r:id="rId9"/>
    <p:sldLayoutId id="2147484648" r:id="rId10"/>
    <p:sldLayoutId id="2147484649" r:id="rId11"/>
    <p:sldLayoutId id="2147484650" r:id="rId12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2715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7" r:id="rId1"/>
    <p:sldLayoutId id="2147484238" r:id="rId2"/>
    <p:sldLayoutId id="2147484239" r:id="rId3"/>
    <p:sldLayoutId id="2147484240" r:id="rId4"/>
    <p:sldLayoutId id="2147484241" r:id="rId5"/>
    <p:sldLayoutId id="2147484242" r:id="rId6"/>
    <p:sldLayoutId id="2147484243" r:id="rId7"/>
    <p:sldLayoutId id="2147484244" r:id="rId8"/>
    <p:sldLayoutId id="2147484245" r:id="rId9"/>
    <p:sldLayoutId id="2147484246" r:id="rId10"/>
    <p:sldLayoutId id="2147484247" r:id="rId11"/>
  </p:sldLayoutIdLst>
  <p:timing>
    <p:tnLst>
      <p:par>
        <p:cTn id="1" dur="indefinite" restart="never" nodeType="tmRoot"/>
      </p:par>
    </p:tnLst>
  </p:timing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3761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52" r:id="rId1"/>
    <p:sldLayoutId id="2147484653" r:id="rId2"/>
    <p:sldLayoutId id="2147484654" r:id="rId3"/>
    <p:sldLayoutId id="2147484655" r:id="rId4"/>
    <p:sldLayoutId id="2147484656" r:id="rId5"/>
    <p:sldLayoutId id="2147484657" r:id="rId6"/>
    <p:sldLayoutId id="2147484658" r:id="rId7"/>
    <p:sldLayoutId id="2147484659" r:id="rId8"/>
    <p:sldLayoutId id="2147484660" r:id="rId9"/>
    <p:sldLayoutId id="2147484661" r:id="rId10"/>
    <p:sldLayoutId id="2147484662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1652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64" r:id="rId1"/>
    <p:sldLayoutId id="2147484665" r:id="rId2"/>
    <p:sldLayoutId id="2147484666" r:id="rId3"/>
    <p:sldLayoutId id="2147484667" r:id="rId4"/>
    <p:sldLayoutId id="2147484668" r:id="rId5"/>
    <p:sldLayoutId id="2147484669" r:id="rId6"/>
    <p:sldLayoutId id="2147484670" r:id="rId7"/>
    <p:sldLayoutId id="2147484671" r:id="rId8"/>
    <p:sldLayoutId id="2147484672" r:id="rId9"/>
    <p:sldLayoutId id="2147484673" r:id="rId10"/>
    <p:sldLayoutId id="2147484674" r:id="rId11"/>
    <p:sldLayoutId id="2147484737" r:id="rId12"/>
    <p:sldLayoutId id="2147484738" r:id="rId13"/>
    <p:sldLayoutId id="2147484739" r:id="rId14"/>
    <p:sldLayoutId id="2147484740" r:id="rId15"/>
    <p:sldLayoutId id="2147484742" r:id="rId16"/>
    <p:sldLayoutId id="2147484745" r:id="rId17"/>
    <p:sldLayoutId id="2147484746" r:id="rId18"/>
    <p:sldLayoutId id="2147484747" r:id="rId19"/>
    <p:sldLayoutId id="2147484748" r:id="rId20"/>
    <p:sldLayoutId id="2147484749" r:id="rId21"/>
    <p:sldLayoutId id="2147484750" r:id="rId22"/>
  </p:sldLayoutIdLst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2391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76" r:id="rId1"/>
    <p:sldLayoutId id="2147484677" r:id="rId2"/>
    <p:sldLayoutId id="2147484678" r:id="rId3"/>
    <p:sldLayoutId id="2147484679" r:id="rId4"/>
    <p:sldLayoutId id="2147484680" r:id="rId5"/>
    <p:sldLayoutId id="2147484681" r:id="rId6"/>
    <p:sldLayoutId id="2147484682" r:id="rId7"/>
    <p:sldLayoutId id="2147484683" r:id="rId8"/>
    <p:sldLayoutId id="2147484684" r:id="rId9"/>
    <p:sldLayoutId id="2147484685" r:id="rId10"/>
    <p:sldLayoutId id="2147484686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95876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88" r:id="rId1"/>
    <p:sldLayoutId id="2147484689" r:id="rId2"/>
    <p:sldLayoutId id="2147484690" r:id="rId3"/>
    <p:sldLayoutId id="2147484691" r:id="rId4"/>
    <p:sldLayoutId id="2147484692" r:id="rId5"/>
    <p:sldLayoutId id="2147484693" r:id="rId6"/>
    <p:sldLayoutId id="2147484694" r:id="rId7"/>
    <p:sldLayoutId id="2147484695" r:id="rId8"/>
    <p:sldLayoutId id="2147484696" r:id="rId9"/>
    <p:sldLayoutId id="2147484697" r:id="rId10"/>
    <p:sldLayoutId id="2147484698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7717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0" r:id="rId1"/>
    <p:sldLayoutId id="2147484701" r:id="rId2"/>
    <p:sldLayoutId id="2147484702" r:id="rId3"/>
    <p:sldLayoutId id="2147484703" r:id="rId4"/>
    <p:sldLayoutId id="2147484704" r:id="rId5"/>
    <p:sldLayoutId id="2147484705" r:id="rId6"/>
    <p:sldLayoutId id="2147484706" r:id="rId7"/>
    <p:sldLayoutId id="2147484707" r:id="rId8"/>
    <p:sldLayoutId id="2147484708" r:id="rId9"/>
    <p:sldLayoutId id="2147484709" r:id="rId10"/>
    <p:sldLayoutId id="2147484710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4251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12" r:id="rId1"/>
    <p:sldLayoutId id="2147484713" r:id="rId2"/>
    <p:sldLayoutId id="2147484714" r:id="rId3"/>
    <p:sldLayoutId id="2147484715" r:id="rId4"/>
    <p:sldLayoutId id="2147484716" r:id="rId5"/>
    <p:sldLayoutId id="2147484717" r:id="rId6"/>
    <p:sldLayoutId id="2147484718" r:id="rId7"/>
    <p:sldLayoutId id="2147484719" r:id="rId8"/>
    <p:sldLayoutId id="2147484720" r:id="rId9"/>
    <p:sldLayoutId id="2147484721" r:id="rId10"/>
    <p:sldLayoutId id="2147484722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54092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24" r:id="rId1"/>
    <p:sldLayoutId id="2147484725" r:id="rId2"/>
    <p:sldLayoutId id="2147484726" r:id="rId3"/>
    <p:sldLayoutId id="2147484727" r:id="rId4"/>
    <p:sldLayoutId id="2147484728" r:id="rId5"/>
    <p:sldLayoutId id="2147484729" r:id="rId6"/>
    <p:sldLayoutId id="2147484730" r:id="rId7"/>
    <p:sldLayoutId id="2147484731" r:id="rId8"/>
    <p:sldLayoutId id="2147484732" r:id="rId9"/>
    <p:sldLayoutId id="2147484733" r:id="rId10"/>
    <p:sldLayoutId id="2147484734" r:id="rId11"/>
    <p:sldLayoutId id="2147484735" r:id="rId12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5083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9" r:id="rId1"/>
    <p:sldLayoutId id="2147484250" r:id="rId2"/>
    <p:sldLayoutId id="2147484251" r:id="rId3"/>
    <p:sldLayoutId id="2147484252" r:id="rId4"/>
    <p:sldLayoutId id="2147484253" r:id="rId5"/>
    <p:sldLayoutId id="2147484254" r:id="rId6"/>
    <p:sldLayoutId id="2147484255" r:id="rId7"/>
    <p:sldLayoutId id="2147484256" r:id="rId8"/>
    <p:sldLayoutId id="2147484257" r:id="rId9"/>
    <p:sldLayoutId id="2147484258" r:id="rId10"/>
    <p:sldLayoutId id="2147484259" r:id="rId11"/>
  </p:sldLayoutIdLst>
  <p:timing>
    <p:tnLst>
      <p:par>
        <p:cTn id="1" dur="indefinite" restart="never" nodeType="tmRoot"/>
      </p:par>
    </p:tnLst>
  </p:timing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/>
              <a:pPr/>
              <a:t>5.12.2017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61" r:id="rId1"/>
    <p:sldLayoutId id="2147484262" r:id="rId2"/>
    <p:sldLayoutId id="2147484263" r:id="rId3"/>
    <p:sldLayoutId id="2147484264" r:id="rId4"/>
    <p:sldLayoutId id="2147484265" r:id="rId5"/>
    <p:sldLayoutId id="2147484266" r:id="rId6"/>
    <p:sldLayoutId id="2147484267" r:id="rId7"/>
    <p:sldLayoutId id="2147484268" r:id="rId8"/>
    <p:sldLayoutId id="2147484269" r:id="rId9"/>
    <p:sldLayoutId id="2147484270" r:id="rId10"/>
    <p:sldLayoutId id="2147484271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2715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4" r:id="rId1"/>
    <p:sldLayoutId id="2147484275" r:id="rId2"/>
    <p:sldLayoutId id="2147484276" r:id="rId3"/>
    <p:sldLayoutId id="2147484277" r:id="rId4"/>
    <p:sldLayoutId id="2147484278" r:id="rId5"/>
    <p:sldLayoutId id="2147484279" r:id="rId6"/>
    <p:sldLayoutId id="2147484280" r:id="rId7"/>
    <p:sldLayoutId id="2147484281" r:id="rId8"/>
    <p:sldLayoutId id="2147484282" r:id="rId9"/>
    <p:sldLayoutId id="2147484283" r:id="rId10"/>
    <p:sldLayoutId id="2147484284" r:id="rId11"/>
  </p:sldLayoutIdLst>
  <p:timing>
    <p:tnLst>
      <p:par>
        <p:cTn id="1" dur="indefinite" restart="never" nodeType="tmRoot"/>
      </p:par>
    </p:tnLst>
  </p:timing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5083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6" r:id="rId1"/>
    <p:sldLayoutId id="2147484287" r:id="rId2"/>
    <p:sldLayoutId id="2147484288" r:id="rId3"/>
    <p:sldLayoutId id="2147484289" r:id="rId4"/>
    <p:sldLayoutId id="2147484290" r:id="rId5"/>
    <p:sldLayoutId id="2147484291" r:id="rId6"/>
    <p:sldLayoutId id="2147484292" r:id="rId7"/>
    <p:sldLayoutId id="2147484293" r:id="rId8"/>
    <p:sldLayoutId id="2147484294" r:id="rId9"/>
    <p:sldLayoutId id="2147484295" r:id="rId10"/>
    <p:sldLayoutId id="2147484296" r:id="rId11"/>
  </p:sldLayoutIdLst>
  <p:timing>
    <p:tnLst>
      <p:par>
        <p:cTn id="1" dur="indefinite" restart="never" nodeType="tmRoot"/>
      </p:par>
    </p:tnLst>
  </p:timing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  <a:latin typeface="Trebuchet M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Trebuchet M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Trebuchet M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  <a:latin typeface="Trebuchet M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735561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8" r:id="rId1"/>
    <p:sldLayoutId id="2147484299" r:id="rId2"/>
    <p:sldLayoutId id="2147484300" r:id="rId3"/>
    <p:sldLayoutId id="2147484301" r:id="rId4"/>
    <p:sldLayoutId id="2147484302" r:id="rId5"/>
    <p:sldLayoutId id="2147484303" r:id="rId6"/>
    <p:sldLayoutId id="2147484304" r:id="rId7"/>
    <p:sldLayoutId id="2147484305" r:id="rId8"/>
    <p:sldLayoutId id="2147484306" r:id="rId9"/>
    <p:sldLayoutId id="2147484307" r:id="rId10"/>
    <p:sldLayoutId id="2147484308" r:id="rId11"/>
  </p:sldLayoutIdLst>
  <p:timing>
    <p:tnLst>
      <p:par>
        <p:cTn id="1" dur="indefinite" restart="never" nodeType="tmRoot"/>
      </p:par>
    </p:tnLst>
  </p:timing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  <a:latin typeface="Trebuchet M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5.12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Trebuchet M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Trebuchet M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  <a:latin typeface="Trebuchet M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202923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0" r:id="rId1"/>
    <p:sldLayoutId id="2147484311" r:id="rId2"/>
    <p:sldLayoutId id="2147484312" r:id="rId3"/>
    <p:sldLayoutId id="2147484313" r:id="rId4"/>
    <p:sldLayoutId id="2147484314" r:id="rId5"/>
    <p:sldLayoutId id="2147484315" r:id="rId6"/>
    <p:sldLayoutId id="2147484316" r:id="rId7"/>
    <p:sldLayoutId id="2147484317" r:id="rId8"/>
    <p:sldLayoutId id="2147484318" r:id="rId9"/>
    <p:sldLayoutId id="2147484319" r:id="rId10"/>
    <p:sldLayoutId id="2147484320" r:id="rId11"/>
  </p:sldLayoutIdLst>
  <p:timing>
    <p:tnLst>
      <p:par>
        <p:cTn id="1" dur="indefinite" restart="never" nodeType="tmRoot"/>
      </p:par>
    </p:tnLst>
  </p:timing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3.xml"/><Relationship Id="rId6" Type="http://schemas.microsoft.com/office/2007/relationships/hdphoto" Target="../media/hdphoto1.wdp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23.xml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3" Type="http://schemas.openxmlformats.org/officeDocument/2006/relationships/image" Target="../media/image21.png"/><Relationship Id="rId7" Type="http://schemas.openxmlformats.org/officeDocument/2006/relationships/chart" Target="../charts/chart9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23.xml"/><Relationship Id="rId6" Type="http://schemas.openxmlformats.org/officeDocument/2006/relationships/chart" Target="../charts/chart8.xml"/><Relationship Id="rId5" Type="http://schemas.openxmlformats.org/officeDocument/2006/relationships/chart" Target="../charts/chart7.xml"/><Relationship Id="rId4" Type="http://schemas.openxmlformats.org/officeDocument/2006/relationships/chart" Target="../charts/chart6.xml"/><Relationship Id="rId9" Type="http://schemas.openxmlformats.org/officeDocument/2006/relationships/chart" Target="../charts/chart1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31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9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gif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329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2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gif"/><Relationship Id="rId3" Type="http://schemas.openxmlformats.org/officeDocument/2006/relationships/tags" Target="../tags/tag9.xml"/><Relationship Id="rId7" Type="http://schemas.openxmlformats.org/officeDocument/2006/relationships/slideLayout" Target="../slideLayouts/slideLayout32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4" Type="http://schemas.openxmlformats.org/officeDocument/2006/relationships/tags" Target="../tags/tag10.xml"/><Relationship Id="rId9" Type="http://schemas.openxmlformats.org/officeDocument/2006/relationships/image" Target="../media/image2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gif"/><Relationship Id="rId3" Type="http://schemas.openxmlformats.org/officeDocument/2006/relationships/tags" Target="../tags/tag15.xml"/><Relationship Id="rId7" Type="http://schemas.openxmlformats.org/officeDocument/2006/relationships/slideLayout" Target="../slideLayouts/slideLayout329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5" Type="http://schemas.openxmlformats.org/officeDocument/2006/relationships/tags" Target="../tags/tag17.xml"/><Relationship Id="rId4" Type="http://schemas.openxmlformats.org/officeDocument/2006/relationships/tags" Target="../tags/tag16.xml"/><Relationship Id="rId9" Type="http://schemas.openxmlformats.org/officeDocument/2006/relationships/image" Target="../media/image2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gif"/><Relationship Id="rId3" Type="http://schemas.openxmlformats.org/officeDocument/2006/relationships/tags" Target="../tags/tag21.xml"/><Relationship Id="rId7" Type="http://schemas.openxmlformats.org/officeDocument/2006/relationships/slideLayout" Target="../slideLayouts/slideLayout329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4" Type="http://schemas.openxmlformats.org/officeDocument/2006/relationships/tags" Target="../tags/tag22.xml"/><Relationship Id="rId9" Type="http://schemas.openxmlformats.org/officeDocument/2006/relationships/image" Target="../media/image2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hyperlink" Target="http://www.opic.bg/" TargetMode="External"/><Relationship Id="rId1" Type="http://schemas.openxmlformats.org/officeDocument/2006/relationships/slideLayout" Target="../slideLayouts/slideLayout92.xml"/><Relationship Id="rId6" Type="http://schemas.microsoft.com/office/2007/relationships/hdphoto" Target="../media/hdphoto1.wdp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image" Target="../media/image15.png"/><Relationship Id="rId7" Type="http://schemas.openxmlformats.org/officeDocument/2006/relationships/image" Target="../media/image1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17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1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1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tint val="66000"/>
                <a:satMod val="1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1916832"/>
            <a:ext cx="9144000" cy="1512168"/>
          </a:xfrm>
        </p:spPr>
        <p:txBody>
          <a:bodyPr/>
          <a:lstStyle/>
          <a:p>
            <a:pPr marL="182880" indent="0" algn="ctr">
              <a:buNone/>
            </a:pPr>
            <a:r>
              <a:rPr lang="bg-BG" sz="3200" dirty="0" smtClean="0">
                <a:solidFill>
                  <a:srgbClr val="002060"/>
                </a:solidFill>
              </a:rPr>
              <a:t>Напредък в изпълнението на </a:t>
            </a:r>
            <a:r>
              <a:rPr lang="en-US" sz="3200" dirty="0" smtClean="0">
                <a:solidFill>
                  <a:srgbClr val="002060"/>
                </a:solidFill>
              </a:rPr>
              <a:t/>
            </a:r>
            <a:br>
              <a:rPr lang="en-US" sz="3200" dirty="0" smtClean="0">
                <a:solidFill>
                  <a:srgbClr val="002060"/>
                </a:solidFill>
              </a:rPr>
            </a:br>
            <a:r>
              <a:rPr lang="bg-BG" sz="3200" dirty="0" smtClean="0">
                <a:solidFill>
                  <a:srgbClr val="002060"/>
                </a:solidFill>
              </a:rPr>
              <a:t>ОП “Иновации и конкурентоспособност“  </a:t>
            </a:r>
            <a:br>
              <a:rPr lang="bg-BG" sz="3200" dirty="0" smtClean="0">
                <a:solidFill>
                  <a:srgbClr val="002060"/>
                </a:solidFill>
              </a:rPr>
            </a:br>
            <a:r>
              <a:rPr lang="bg-BG" sz="3200" dirty="0" smtClean="0">
                <a:solidFill>
                  <a:srgbClr val="002060"/>
                </a:solidFill>
              </a:rPr>
              <a:t>2014-2020</a:t>
            </a:r>
            <a:endParaRPr lang="bg-BG" sz="3200" dirty="0">
              <a:solidFill>
                <a:srgbClr val="002060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819350" y="18005"/>
            <a:ext cx="8075413" cy="1972851"/>
            <a:chOff x="773899" y="18005"/>
            <a:chExt cx="8075413" cy="1972851"/>
          </a:xfrm>
        </p:grpSpPr>
        <p:grpSp>
          <p:nvGrpSpPr>
            <p:cNvPr id="4" name="Group 3"/>
            <p:cNvGrpSpPr/>
            <p:nvPr/>
          </p:nvGrpSpPr>
          <p:grpSpPr>
            <a:xfrm>
              <a:off x="773899" y="195811"/>
              <a:ext cx="4893029" cy="1502945"/>
              <a:chOff x="773899" y="195811"/>
              <a:chExt cx="4893029" cy="1502945"/>
            </a:xfrm>
          </p:grpSpPr>
          <p:pic>
            <p:nvPicPr>
              <p:cNvPr id="11" name="Picture 10" descr="OPIC1BG_COLOR_DOWN.fw.png"/>
              <p:cNvPicPr>
                <a:picLocks noChangeAspect="1"/>
              </p:cNvPicPr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3768968" y="316217"/>
                <a:ext cx="1897960" cy="1376425"/>
              </a:xfrm>
              <a:prstGeom prst="rect">
                <a:avLst/>
              </a:prstGeom>
            </p:spPr>
          </p:pic>
          <p:pic>
            <p:nvPicPr>
              <p:cNvPr id="13" name="Picture 12" descr="Description: textEU+LOGO.fw.png"/>
              <p:cNvPicPr/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724"/>
              <a:stretch>
                <a:fillRect/>
              </a:stretch>
            </p:blipFill>
            <p:spPr bwMode="auto">
              <a:xfrm>
                <a:off x="773899" y="195811"/>
                <a:ext cx="1512168" cy="1502945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pic>
          <p:nvPicPr>
            <p:cNvPr id="14" name="Picture 5" descr="C:\Users\mdragomirova\Desktop\Logos\SMEI\ОП Инициатива за малки и средни предприятия\BG-text\Logo-SMEI-center-no-back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-3000" contrast="83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60232" y="18005"/>
              <a:ext cx="2189080" cy="19728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" name="Rectangle 9"/>
          <p:cNvSpPr/>
          <p:nvPr/>
        </p:nvSpPr>
        <p:spPr>
          <a:xfrm>
            <a:off x="395534" y="3876587"/>
            <a:ext cx="8568953" cy="18774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Съвместно</a:t>
            </a:r>
            <a:r>
              <a:rPr lang="ru-RU" sz="28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 заседание на РСР и РКК на </a:t>
            </a:r>
            <a:r>
              <a:rPr lang="ru-RU" sz="28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ЮЗР</a:t>
            </a:r>
            <a:endParaRPr lang="ru-RU" sz="2800" b="1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</a:endParaRPr>
          </a:p>
          <a:p>
            <a:pPr algn="ctr"/>
            <a:r>
              <a:rPr lang="bg-BG" sz="2000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с. Баня, община Разлог, 05-06</a:t>
            </a:r>
            <a:r>
              <a:rPr lang="ru-RU" sz="2000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 </a:t>
            </a:r>
            <a:r>
              <a:rPr lang="ru-RU" sz="2000" dirty="0" err="1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декември</a:t>
            </a:r>
            <a:r>
              <a:rPr lang="ru-RU" sz="2000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 2017 </a:t>
            </a:r>
            <a:r>
              <a:rPr lang="ru-RU" sz="2000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г. </a:t>
            </a:r>
            <a:r>
              <a:rPr lang="ru-RU" sz="2800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bg-BG" sz="2000" b="1" dirty="0" smtClean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bg-BG" sz="20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ГД </a:t>
            </a:r>
            <a:r>
              <a:rPr lang="bg-BG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„Европейски фондове за конкурентоспособност“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bg-BG" sz="20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Министерство на икономиката </a:t>
            </a:r>
          </a:p>
        </p:txBody>
      </p:sp>
      <p:cxnSp>
        <p:nvCxnSpPr>
          <p:cNvPr id="6" name="Straight Connector 5"/>
          <p:cNvCxnSpPr/>
          <p:nvPr/>
        </p:nvCxnSpPr>
        <p:spPr>
          <a:xfrm flipV="1">
            <a:off x="395534" y="3429000"/>
            <a:ext cx="8424938" cy="7200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8784376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0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7389440" cy="3474720"/>
          </a:xfrm>
        </p:spPr>
        <p:txBody>
          <a:bodyPr>
            <a:normAutofit/>
          </a:bodyPr>
          <a:lstStyle/>
          <a:p>
            <a:pPr marL="45720" indent="0">
              <a:buNone/>
            </a:pPr>
            <a:endParaRPr lang="bg-BG" b="1" dirty="0" smtClean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45720" indent="0">
              <a:buNone/>
            </a:pPr>
            <a:endParaRPr lang="bg-BG" b="1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45720" indent="0">
              <a:buNone/>
            </a:pPr>
            <a:endParaRPr lang="bg-BG" b="1" dirty="0" smtClean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45720" indent="0" algn="ctr">
              <a:buNone/>
            </a:pPr>
            <a:r>
              <a:rPr lang="bg-BG" sz="32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Напредък </a:t>
            </a:r>
            <a:r>
              <a:rPr lang="bg-BG" sz="32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в изпълнението на </a:t>
            </a:r>
            <a:endParaRPr lang="bg-BG" sz="3200" b="1" dirty="0" smtClean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  <a:p>
            <a:pPr marL="45720" indent="0" algn="ctr">
              <a:buNone/>
            </a:pPr>
            <a:r>
              <a:rPr lang="ru-RU" sz="32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ОП </a:t>
            </a:r>
            <a:r>
              <a:rPr lang="ru-RU" sz="32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„Инициатива за МСП“ </a:t>
            </a:r>
            <a:endParaRPr lang="ru-RU" sz="3200" b="1" dirty="0" smtClean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  <a:p>
            <a:pPr marL="45720" indent="0" algn="ctr">
              <a:buNone/>
            </a:pPr>
            <a:r>
              <a:rPr lang="ru-RU" sz="32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2014-2020</a:t>
            </a:r>
            <a:r>
              <a:rPr lang="bg-BG" sz="32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</a:t>
            </a:r>
            <a:endParaRPr lang="bg-BG" sz="3200" b="1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7578449"/>
      </p:ext>
    </p:extLst>
  </p:cSld>
  <p:clrMapOvr>
    <a:masterClrMapping/>
  </p:clrMapOvr>
  <p:transition spd="med">
    <p:dissolv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08720"/>
          </a:xfrm>
        </p:spPr>
        <p:txBody>
          <a:bodyPr/>
          <a:lstStyle/>
          <a:p>
            <a:pPr algn="ctr">
              <a:buNone/>
            </a:pPr>
            <a:r>
              <a:rPr lang="bg-BG" sz="2500" dirty="0" smtClean="0">
                <a:solidFill>
                  <a:srgbClr val="2F5897"/>
                </a:solidFill>
              </a:rPr>
              <a:t/>
            </a:r>
            <a:br>
              <a:rPr lang="bg-BG" sz="2500" dirty="0" smtClean="0">
                <a:solidFill>
                  <a:srgbClr val="2F5897"/>
                </a:solidFill>
              </a:rPr>
            </a:br>
            <a:r>
              <a:rPr lang="bg-BG" sz="2500" dirty="0" smtClean="0">
                <a:solidFill>
                  <a:srgbClr val="002060"/>
                </a:solidFill>
              </a:rPr>
              <a:t>Инициатива за МСП</a:t>
            </a:r>
            <a:endParaRPr lang="bg-BG" sz="2500" dirty="0">
              <a:solidFill>
                <a:srgbClr val="00206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57200" y="1124744"/>
            <a:ext cx="8229600" cy="5544616"/>
          </a:xfrm>
          <a:prstGeom prst="rect">
            <a:avLst/>
          </a:prstGeom>
        </p:spPr>
        <p:txBody>
          <a:bodyPr>
            <a:normAutofit fontScale="92500"/>
          </a:bodyPr>
          <a:lstStyle/>
          <a:p>
            <a:pPr marL="266700" lvl="2" indent="-180975" algn="just">
              <a:lnSpc>
                <a:spcPts val="1800"/>
              </a:lnSpc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  <a:tabLst>
                <a:tab pos="266700" algn="l"/>
                <a:tab pos="628650" algn="l"/>
              </a:tabLst>
            </a:pPr>
            <a:r>
              <a:rPr lang="bg-BG" i="1" dirty="0" smtClean="0">
                <a:solidFill>
                  <a:srgbClr val="002060"/>
                </a:solidFill>
                <a:latin typeface="+mn-lt"/>
              </a:rPr>
              <a:t>Инициативата за МСП </a:t>
            </a:r>
            <a:r>
              <a:rPr lang="bg-BG" dirty="0" smtClean="0">
                <a:solidFill>
                  <a:srgbClr val="002060"/>
                </a:solidFill>
                <a:latin typeface="+mn-lt"/>
              </a:rPr>
              <a:t>е </a:t>
            </a:r>
            <a:r>
              <a:rPr lang="bg-BG" b="1" dirty="0" smtClean="0">
                <a:solidFill>
                  <a:srgbClr val="002060"/>
                </a:solidFill>
                <a:latin typeface="+mn-lt"/>
              </a:rPr>
              <a:t>съвместна програма </a:t>
            </a:r>
            <a:r>
              <a:rPr lang="bg-BG" dirty="0" smtClean="0">
                <a:solidFill>
                  <a:srgbClr val="002060"/>
                </a:solidFill>
                <a:latin typeface="+mn-lt"/>
              </a:rPr>
              <a:t>на Европейската комисия и Европейската инвестиционна банка за финансови инструменти за МСП през програмен период 2014-2020. През 2015 г. Европейската комисия одобри Оперативна програма „Инициатива за малки и средни предприятия“ 2014-2020. </a:t>
            </a:r>
          </a:p>
          <a:p>
            <a:pPr marL="266700" lvl="2" indent="-180975" algn="just">
              <a:lnSpc>
                <a:spcPts val="1800"/>
              </a:lnSpc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  <a:tabLst>
                <a:tab pos="266700" algn="l"/>
                <a:tab pos="628650" algn="l"/>
              </a:tabLst>
            </a:pPr>
            <a:r>
              <a:rPr lang="bg-BG" dirty="0" smtClean="0">
                <a:solidFill>
                  <a:srgbClr val="002060"/>
                </a:solidFill>
                <a:latin typeface="+mn-lt"/>
              </a:rPr>
              <a:t>През март 2016 г. УО подписа споразумение за управление на инструмента, предвиден за изпълнение по програмата, с </a:t>
            </a:r>
            <a:r>
              <a:rPr lang="bg-BG" b="1" dirty="0" smtClean="0">
                <a:solidFill>
                  <a:srgbClr val="002060"/>
                </a:solidFill>
                <a:latin typeface="+mn-lt"/>
              </a:rPr>
              <a:t>ЕИФ.</a:t>
            </a:r>
          </a:p>
          <a:p>
            <a:pPr marL="266700" lvl="2" indent="-180975" algn="just">
              <a:lnSpc>
                <a:spcPts val="1800"/>
              </a:lnSpc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  <a:tabLst>
                <a:tab pos="266700" algn="l"/>
                <a:tab pos="628650" algn="l"/>
              </a:tabLst>
            </a:pPr>
            <a:r>
              <a:rPr lang="bg-BG" b="1" dirty="0" smtClean="0">
                <a:solidFill>
                  <a:srgbClr val="002060"/>
                </a:solidFill>
                <a:latin typeface="+mn-lt"/>
              </a:rPr>
              <a:t>Инструмент за неограничени гаранции</a:t>
            </a:r>
            <a:r>
              <a:rPr lang="bg-BG" dirty="0" smtClean="0">
                <a:solidFill>
                  <a:srgbClr val="002060"/>
                </a:solidFill>
                <a:latin typeface="+mn-lt"/>
              </a:rPr>
              <a:t> на Инициативата за МСП:</a:t>
            </a:r>
          </a:p>
          <a:p>
            <a:pPr marL="723900" lvl="5" indent="-180975" algn="just">
              <a:lnSpc>
                <a:spcPts val="1800"/>
              </a:lnSpc>
              <a:spcBef>
                <a:spcPts val="600"/>
              </a:spcBef>
              <a:spcAft>
                <a:spcPts val="1200"/>
              </a:spcAft>
              <a:buFont typeface="Courier New" pitchFamily="49" charset="0"/>
              <a:buChar char="o"/>
              <a:tabLst>
                <a:tab pos="266700" algn="l"/>
                <a:tab pos="628650" algn="l"/>
              </a:tabLst>
            </a:pPr>
            <a:r>
              <a:rPr lang="bg-BG" b="1" dirty="0" smtClean="0">
                <a:solidFill>
                  <a:srgbClr val="002060"/>
                </a:solidFill>
                <a:latin typeface="+mn-lt"/>
              </a:rPr>
              <a:t>заеми</a:t>
            </a:r>
            <a:r>
              <a:rPr lang="bg-BG" dirty="0" smtClean="0">
                <a:solidFill>
                  <a:srgbClr val="002060"/>
                </a:solidFill>
                <a:latin typeface="+mn-lt"/>
              </a:rPr>
              <a:t> и/или финансови лизинги за МСП при преференциални условия, с фиксиран срок за погасяване от 2 до 12 години и максимална сума на кредита до 5 млн. евро.</a:t>
            </a:r>
          </a:p>
          <a:p>
            <a:pPr marL="266700" lvl="2" indent="-180975" algn="just">
              <a:lnSpc>
                <a:spcPts val="1800"/>
              </a:lnSpc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  <a:tabLst>
                <a:tab pos="266700" algn="l"/>
                <a:tab pos="628650" algn="l"/>
              </a:tabLst>
            </a:pPr>
            <a:r>
              <a:rPr lang="bg-BG" dirty="0" smtClean="0">
                <a:solidFill>
                  <a:srgbClr val="002060"/>
                </a:solidFill>
                <a:latin typeface="+mn-lt"/>
              </a:rPr>
              <a:t>Бюджетът на програмата </a:t>
            </a:r>
            <a:r>
              <a:rPr lang="bg-BG" b="1" dirty="0" smtClean="0">
                <a:solidFill>
                  <a:srgbClr val="002060"/>
                </a:solidFill>
                <a:latin typeface="+mn-lt"/>
              </a:rPr>
              <a:t>е 102 млн. евро</a:t>
            </a:r>
            <a:r>
              <a:rPr lang="bg-BG" dirty="0" smtClean="0">
                <a:solidFill>
                  <a:srgbClr val="002060"/>
                </a:solidFill>
                <a:latin typeface="+mn-lt"/>
              </a:rPr>
              <a:t>, които са изцяло от ЕС, без национално </a:t>
            </a:r>
            <a:r>
              <a:rPr lang="bg-BG" dirty="0" err="1" smtClean="0">
                <a:solidFill>
                  <a:srgbClr val="002060"/>
                </a:solidFill>
                <a:latin typeface="+mn-lt"/>
              </a:rPr>
              <a:t>съ-финансиране</a:t>
            </a:r>
            <a:r>
              <a:rPr lang="bg-BG" dirty="0" smtClean="0">
                <a:solidFill>
                  <a:srgbClr val="002060"/>
                </a:solidFill>
                <a:latin typeface="+mn-lt"/>
              </a:rPr>
              <a:t>. Предвиденият </a:t>
            </a:r>
            <a:r>
              <a:rPr lang="bg-BG" dirty="0" err="1" smtClean="0">
                <a:solidFill>
                  <a:srgbClr val="002060"/>
                </a:solidFill>
                <a:latin typeface="+mn-lt"/>
              </a:rPr>
              <a:t>ливъридж</a:t>
            </a:r>
            <a:r>
              <a:rPr lang="bg-BG" dirty="0" smtClean="0">
                <a:solidFill>
                  <a:srgbClr val="002060"/>
                </a:solidFill>
                <a:latin typeface="+mn-lt"/>
              </a:rPr>
              <a:t> е 4,3 пъти, т.е. заедно с частното финансиране портфейлът на инструмента </a:t>
            </a:r>
            <a:r>
              <a:rPr lang="bg-BG" b="1" dirty="0" smtClean="0">
                <a:solidFill>
                  <a:srgbClr val="002060"/>
                </a:solidFill>
                <a:latin typeface="+mn-lt"/>
              </a:rPr>
              <a:t>достигна 608 млн. евро</a:t>
            </a:r>
            <a:r>
              <a:rPr lang="bg-BG" dirty="0" smtClean="0">
                <a:solidFill>
                  <a:srgbClr val="002060"/>
                </a:solidFill>
                <a:latin typeface="+mn-lt"/>
              </a:rPr>
              <a:t>.</a:t>
            </a:r>
          </a:p>
          <a:p>
            <a:pPr marL="266700" lvl="2" indent="-180975" algn="just">
              <a:lnSpc>
                <a:spcPts val="1800"/>
              </a:lnSpc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  <a:tabLst>
                <a:tab pos="266700" algn="l"/>
                <a:tab pos="628650" algn="l"/>
              </a:tabLst>
            </a:pPr>
            <a:r>
              <a:rPr lang="bg-BG" dirty="0" smtClean="0">
                <a:solidFill>
                  <a:srgbClr val="002060"/>
                </a:solidFill>
                <a:latin typeface="+mn-lt"/>
              </a:rPr>
              <a:t>В края на 2016 г. ЕИФ избра </a:t>
            </a:r>
            <a:r>
              <a:rPr lang="bg-BG" b="1" dirty="0" smtClean="0">
                <a:solidFill>
                  <a:srgbClr val="002060"/>
                </a:solidFill>
                <a:latin typeface="+mn-lt"/>
              </a:rPr>
              <a:t>10 финансови посредници</a:t>
            </a:r>
            <a:r>
              <a:rPr lang="bg-BG" dirty="0" smtClean="0">
                <a:solidFill>
                  <a:srgbClr val="002060"/>
                </a:solidFill>
                <a:latin typeface="+mn-lt"/>
              </a:rPr>
              <a:t>: Обединена българска банка, Райфайзенбанк, </a:t>
            </a:r>
            <a:r>
              <a:rPr lang="bg-BG" dirty="0" err="1" smtClean="0">
                <a:solidFill>
                  <a:srgbClr val="002060"/>
                </a:solidFill>
                <a:latin typeface="+mn-lt"/>
              </a:rPr>
              <a:t>Уникредит</a:t>
            </a:r>
            <a:r>
              <a:rPr lang="bg-BG" dirty="0" smtClean="0">
                <a:solidFill>
                  <a:srgbClr val="002060"/>
                </a:solidFill>
                <a:latin typeface="+mn-lt"/>
              </a:rPr>
              <a:t> Булбанк, </a:t>
            </a:r>
            <a:r>
              <a:rPr lang="bg-BG" dirty="0" err="1" smtClean="0">
                <a:solidFill>
                  <a:srgbClr val="002060"/>
                </a:solidFill>
                <a:latin typeface="+mn-lt"/>
              </a:rPr>
              <a:t>Прокредит</a:t>
            </a:r>
            <a:r>
              <a:rPr lang="bg-BG" dirty="0" smtClean="0">
                <a:solidFill>
                  <a:srgbClr val="002060"/>
                </a:solidFill>
                <a:latin typeface="+mn-lt"/>
              </a:rPr>
              <a:t> </a:t>
            </a:r>
            <a:r>
              <a:rPr lang="bg-BG" dirty="0" err="1" smtClean="0">
                <a:solidFill>
                  <a:srgbClr val="002060"/>
                </a:solidFill>
                <a:latin typeface="+mn-lt"/>
              </a:rPr>
              <a:t>Банк</a:t>
            </a:r>
            <a:r>
              <a:rPr lang="bg-BG" dirty="0" smtClean="0">
                <a:solidFill>
                  <a:srgbClr val="002060"/>
                </a:solidFill>
                <a:latin typeface="+mn-lt"/>
              </a:rPr>
              <a:t>, </a:t>
            </a:r>
            <a:r>
              <a:rPr lang="bg-BG" dirty="0" err="1" smtClean="0">
                <a:solidFill>
                  <a:srgbClr val="002060"/>
                </a:solidFill>
                <a:latin typeface="+mn-lt"/>
              </a:rPr>
              <a:t>Сибанк</a:t>
            </a:r>
            <a:r>
              <a:rPr lang="bg-BG" dirty="0" smtClean="0">
                <a:solidFill>
                  <a:srgbClr val="002060"/>
                </a:solidFill>
                <a:latin typeface="+mn-lt"/>
              </a:rPr>
              <a:t>, </a:t>
            </a:r>
            <a:r>
              <a:rPr lang="bg-BG" dirty="0" err="1" smtClean="0">
                <a:solidFill>
                  <a:srgbClr val="002060"/>
                </a:solidFill>
                <a:latin typeface="+mn-lt"/>
              </a:rPr>
              <a:t>Дойче</a:t>
            </a:r>
            <a:r>
              <a:rPr lang="bg-BG" dirty="0" smtClean="0">
                <a:solidFill>
                  <a:srgbClr val="002060"/>
                </a:solidFill>
                <a:latin typeface="+mn-lt"/>
              </a:rPr>
              <a:t> Лизинг България, </a:t>
            </a:r>
            <a:r>
              <a:rPr lang="bg-BG" dirty="0" err="1" smtClean="0">
                <a:solidFill>
                  <a:srgbClr val="002060"/>
                </a:solidFill>
                <a:latin typeface="+mn-lt"/>
              </a:rPr>
              <a:t>Сосиете</a:t>
            </a:r>
            <a:r>
              <a:rPr lang="bg-BG" dirty="0" smtClean="0">
                <a:solidFill>
                  <a:srgbClr val="002060"/>
                </a:solidFill>
                <a:latin typeface="+mn-lt"/>
              </a:rPr>
              <a:t> </a:t>
            </a:r>
            <a:r>
              <a:rPr lang="bg-BG" dirty="0" err="1" smtClean="0">
                <a:solidFill>
                  <a:srgbClr val="002060"/>
                </a:solidFill>
                <a:latin typeface="+mn-lt"/>
              </a:rPr>
              <a:t>Женерал</a:t>
            </a:r>
            <a:r>
              <a:rPr lang="bg-BG" dirty="0" smtClean="0">
                <a:solidFill>
                  <a:srgbClr val="002060"/>
                </a:solidFill>
                <a:latin typeface="+mn-lt"/>
              </a:rPr>
              <a:t> </a:t>
            </a:r>
            <a:r>
              <a:rPr lang="bg-BG" dirty="0" err="1" smtClean="0">
                <a:solidFill>
                  <a:srgbClr val="002060"/>
                </a:solidFill>
                <a:latin typeface="+mn-lt"/>
              </a:rPr>
              <a:t>Експресбанк</a:t>
            </a:r>
            <a:r>
              <a:rPr lang="bg-BG" dirty="0" smtClean="0">
                <a:solidFill>
                  <a:srgbClr val="002060"/>
                </a:solidFill>
                <a:latin typeface="+mn-lt"/>
              </a:rPr>
              <a:t>, </a:t>
            </a:r>
            <a:r>
              <a:rPr lang="bg-BG" dirty="0" err="1" smtClean="0">
                <a:solidFill>
                  <a:srgbClr val="002060"/>
                </a:solidFill>
                <a:latin typeface="+mn-lt"/>
              </a:rPr>
              <a:t>Юробанк</a:t>
            </a:r>
            <a:r>
              <a:rPr lang="bg-BG" dirty="0" smtClean="0">
                <a:solidFill>
                  <a:srgbClr val="002060"/>
                </a:solidFill>
                <a:latin typeface="+mn-lt"/>
              </a:rPr>
              <a:t> България (Пощенска банка), Банка ДСК и Банка </a:t>
            </a:r>
            <a:r>
              <a:rPr lang="bg-BG" dirty="0" err="1" smtClean="0">
                <a:solidFill>
                  <a:srgbClr val="002060"/>
                </a:solidFill>
                <a:latin typeface="+mn-lt"/>
              </a:rPr>
              <a:t>Пиреос</a:t>
            </a:r>
            <a:r>
              <a:rPr lang="bg-BG" dirty="0" smtClean="0">
                <a:solidFill>
                  <a:srgbClr val="002060"/>
                </a:solidFill>
                <a:latin typeface="+mn-lt"/>
              </a:rPr>
              <a:t> България. </a:t>
            </a:r>
          </a:p>
        </p:txBody>
      </p:sp>
    </p:spTree>
    <p:extLst>
      <p:ext uri="{BB962C8B-B14F-4D97-AF65-F5344CB8AC3E}">
        <p14:creationId xmlns:p14="http://schemas.microsoft.com/office/powerpoint/2010/main" val="3393372089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188640"/>
            <a:ext cx="8229600" cy="619472"/>
          </a:xfrm>
        </p:spPr>
        <p:txBody>
          <a:bodyPr/>
          <a:lstStyle/>
          <a:p>
            <a:pPr algn="ctr">
              <a:buNone/>
            </a:pPr>
            <a:r>
              <a:rPr lang="bg-BG" sz="2500" dirty="0">
                <a:solidFill>
                  <a:srgbClr val="002060"/>
                </a:solidFill>
              </a:rPr>
              <a:t>Инициатива за МСП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57200" y="1124744"/>
            <a:ext cx="8229600" cy="5001419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266700" lvl="2" indent="-180975" algn="just">
              <a:lnSpc>
                <a:spcPts val="1800"/>
              </a:lnSpc>
              <a:spcBef>
                <a:spcPts val="0"/>
              </a:spcBef>
              <a:buFont typeface="Arial" pitchFamily="34" charset="0"/>
              <a:buChar char="•"/>
              <a:tabLst>
                <a:tab pos="266700" algn="l"/>
                <a:tab pos="628650" algn="l"/>
              </a:tabLst>
            </a:pPr>
            <a:r>
              <a:rPr lang="bg-BG" sz="1500" dirty="0" smtClean="0">
                <a:solidFill>
                  <a:srgbClr val="002060"/>
                </a:solidFill>
                <a:latin typeface="+mn-lt"/>
              </a:rPr>
              <a:t>Финансовите посредници осъществяват подбора на крайните получатели:</a:t>
            </a:r>
          </a:p>
          <a:p>
            <a:pPr marL="723900" lvl="3" indent="-180975" algn="just">
              <a:lnSpc>
                <a:spcPts val="1800"/>
              </a:lnSpc>
              <a:spcBef>
                <a:spcPts val="0"/>
              </a:spcBef>
              <a:buFont typeface="Courier New" pitchFamily="49" charset="0"/>
              <a:buChar char="o"/>
              <a:tabLst>
                <a:tab pos="266700" algn="l"/>
                <a:tab pos="628650" algn="l"/>
              </a:tabLst>
            </a:pPr>
            <a:r>
              <a:rPr lang="bg-BG" sz="1500" dirty="0" smtClean="0">
                <a:solidFill>
                  <a:srgbClr val="002060"/>
                </a:solidFill>
                <a:latin typeface="+mn-lt"/>
              </a:rPr>
              <a:t>действащи МСП, като се изключват сектори: селско стопанство, хазарт, тютюневи изделия, алкохол и др. </a:t>
            </a:r>
          </a:p>
          <a:p>
            <a:pPr marL="723900" lvl="3" indent="-180975" algn="just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Font typeface="Courier New" pitchFamily="49" charset="0"/>
              <a:buChar char="o"/>
              <a:tabLst>
                <a:tab pos="266700" algn="l"/>
                <a:tab pos="628650" algn="l"/>
              </a:tabLst>
            </a:pPr>
            <a:r>
              <a:rPr lang="bg-BG" sz="1500" dirty="0" smtClean="0">
                <a:solidFill>
                  <a:srgbClr val="002060"/>
                </a:solidFill>
                <a:latin typeface="+mn-lt"/>
              </a:rPr>
              <a:t>кредити за инвестиции в материални и нематериални активи, както и за оборотни средства. Допустими са само нови бизнес кредити, изключва се рефинансиране на стари кредитни задължения.</a:t>
            </a:r>
          </a:p>
          <a:p>
            <a:pPr marL="266700" lvl="2" indent="-180975" algn="just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  <a:tab pos="628650" algn="l"/>
              </a:tabLst>
            </a:pPr>
            <a:r>
              <a:rPr lang="bg-BG" sz="1500" dirty="0" smtClean="0">
                <a:solidFill>
                  <a:srgbClr val="002060"/>
                </a:solidFill>
                <a:latin typeface="+mn-lt"/>
              </a:rPr>
              <a:t>Към края на първото полугодие на 2017 г. по данни на ЕИФ са осъществени 1 464 трансакции към МСП на обща стойност близо 156 млн.евро, което представлява 25,6 % от общия размер на портфейла по инструмента.</a:t>
            </a:r>
          </a:p>
          <a:p>
            <a:pPr marL="266700" lvl="2" indent="-180975" algn="just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  <a:tabLst>
                <a:tab pos="266700" algn="l"/>
                <a:tab pos="628650" algn="l"/>
              </a:tabLst>
            </a:pPr>
            <a:r>
              <a:rPr lang="bg-BG" sz="1500" dirty="0" smtClean="0">
                <a:solidFill>
                  <a:srgbClr val="002060"/>
                </a:solidFill>
                <a:latin typeface="+mn-lt"/>
              </a:rPr>
              <a:t>Периодът на отдаване, в който финансовите посредници имат право да отпускат нови заеми на предприятията, е до 31 декември 2019 г. </a:t>
            </a:r>
            <a:endParaRPr lang="ru-RU" sz="1500" dirty="0" smtClean="0">
              <a:solidFill>
                <a:srgbClr val="002060"/>
              </a:solidFill>
              <a:latin typeface="+mn-lt"/>
            </a:endParaRPr>
          </a:p>
          <a:p>
            <a:pPr marL="266700" lvl="2" indent="-180975" algn="just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tabLst>
                <a:tab pos="266700" algn="l"/>
                <a:tab pos="628650" algn="l"/>
              </a:tabLst>
            </a:pPr>
            <a:endParaRPr lang="bg-BG" sz="1500" dirty="0">
              <a:solidFill>
                <a:srgbClr val="2F5897">
                  <a:lumMod val="75000"/>
                </a:srgbClr>
              </a:solidFill>
              <a:latin typeface="+mn-lt"/>
            </a:endParaRPr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97031738"/>
              </p:ext>
            </p:extLst>
          </p:nvPr>
        </p:nvGraphicFramePr>
        <p:xfrm>
          <a:off x="3889748" y="4725144"/>
          <a:ext cx="2486128" cy="18722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5" name="Group 7"/>
          <p:cNvGrpSpPr/>
          <p:nvPr/>
        </p:nvGrpSpPr>
        <p:grpSpPr>
          <a:xfrm>
            <a:off x="395694" y="3897454"/>
            <a:ext cx="8601681" cy="1914131"/>
            <a:chOff x="272068" y="1431917"/>
            <a:chExt cx="8601681" cy="1914131"/>
          </a:xfrm>
        </p:grpSpPr>
        <p:sp>
          <p:nvSpPr>
            <p:cNvPr id="9" name="Rectangle 8"/>
            <p:cNvSpPr/>
            <p:nvPr/>
          </p:nvSpPr>
          <p:spPr>
            <a:xfrm>
              <a:off x="272068" y="1738960"/>
              <a:ext cx="8432275" cy="32188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25400" cap="flat" cmpd="sng" algn="ctr">
              <a:solidFill>
                <a:srgbClr val="114FA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GB" kern="0" smtClea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1" name="Line Callout 2 10"/>
            <p:cNvSpPr/>
            <p:nvPr/>
          </p:nvSpPr>
          <p:spPr>
            <a:xfrm>
              <a:off x="608815" y="2687393"/>
              <a:ext cx="1175604" cy="614124"/>
            </a:xfrm>
            <a:prstGeom prst="borderCallout2">
              <a:avLst>
                <a:gd name="adj1" fmla="val 18750"/>
                <a:gd name="adj2" fmla="val -231"/>
                <a:gd name="adj3" fmla="val 18750"/>
                <a:gd name="adj4" fmla="val -16667"/>
                <a:gd name="adj5" fmla="val -151325"/>
                <a:gd name="adj6" fmla="val -16266"/>
              </a:avLst>
            </a:prstGeom>
            <a:noFill/>
            <a:ln w="19050" cap="flat" cmpd="sng" algn="ctr">
              <a:solidFill>
                <a:srgbClr val="FFD100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r>
                <a:rPr lang="en-US" sz="1000" dirty="0"/>
                <a:t>2</a:t>
              </a:r>
              <a:r>
                <a:rPr lang="bg-BG" sz="1000" dirty="0"/>
                <a:t>-ри</a:t>
              </a:r>
              <a:r>
                <a:rPr lang="en-US" sz="1000" baseline="30000" dirty="0"/>
                <a:t> </a:t>
              </a:r>
              <a:r>
                <a:rPr lang="bg-BG" sz="1000" dirty="0"/>
                <a:t>март</a:t>
              </a:r>
              <a:r>
                <a:rPr lang="en-US" sz="1000" dirty="0"/>
                <a:t> 2016:</a:t>
              </a:r>
            </a:p>
            <a:p>
              <a:r>
                <a:rPr lang="bg-BG" sz="1000" dirty="0"/>
                <a:t>Подписване на споразумението за финансиране</a:t>
              </a:r>
              <a:endParaRPr lang="en-GB" sz="1000" dirty="0"/>
            </a:p>
          </p:txBody>
        </p:sp>
        <p:sp>
          <p:nvSpPr>
            <p:cNvPr id="13" name="Line Callout 2 12"/>
            <p:cNvSpPr/>
            <p:nvPr/>
          </p:nvSpPr>
          <p:spPr>
            <a:xfrm>
              <a:off x="2235481" y="2687393"/>
              <a:ext cx="1341304" cy="658655"/>
            </a:xfrm>
            <a:prstGeom prst="borderCallout2">
              <a:avLst>
                <a:gd name="adj1" fmla="val 20013"/>
                <a:gd name="adj2" fmla="val -521"/>
                <a:gd name="adj3" fmla="val 18750"/>
                <a:gd name="adj4" fmla="val -16667"/>
                <a:gd name="adj5" fmla="val -144427"/>
                <a:gd name="adj6" fmla="val -17041"/>
              </a:avLst>
            </a:prstGeom>
            <a:noFill/>
            <a:ln w="19050" cap="flat" cmpd="sng" algn="ctr">
              <a:solidFill>
                <a:srgbClr val="FFD100">
                  <a:shade val="50000"/>
                </a:srgbClr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>
                <a:defRPr/>
              </a:pPr>
              <a:r>
                <a:rPr lang="en-US" sz="1000" kern="0" dirty="0" smtClean="0">
                  <a:solidFill>
                    <a:prstClr val="black"/>
                  </a:solidFill>
                  <a:latin typeface="Calibri"/>
                </a:rPr>
                <a:t> </a:t>
              </a:r>
              <a:r>
                <a:rPr lang="ru-RU" sz="1000" kern="0" dirty="0">
                  <a:solidFill>
                    <a:prstClr val="black"/>
                  </a:solidFill>
                  <a:latin typeface="Calibri"/>
                </a:rPr>
                <a:t> ноем/ дек 2016 </a:t>
              </a:r>
              <a:r>
                <a:rPr lang="ru-RU" sz="1000" kern="0" dirty="0" smtClean="0">
                  <a:solidFill>
                    <a:prstClr val="black"/>
                  </a:solidFill>
                  <a:latin typeface="Calibri"/>
                </a:rPr>
                <a:t>– </a:t>
              </a:r>
              <a:r>
                <a:rPr lang="ru-RU" sz="1000" kern="0" dirty="0" err="1" smtClean="0">
                  <a:solidFill>
                    <a:prstClr val="black"/>
                  </a:solidFill>
                  <a:latin typeface="Calibri"/>
                </a:rPr>
                <a:t>подписване</a:t>
              </a:r>
              <a:r>
                <a:rPr lang="ru-RU" sz="1000" kern="0" dirty="0" smtClean="0">
                  <a:solidFill>
                    <a:prstClr val="black"/>
                  </a:solidFill>
                  <a:latin typeface="Calibri"/>
                </a:rPr>
                <a:t> </a:t>
              </a:r>
              <a:r>
                <a:rPr lang="ru-RU" sz="1000" kern="0" dirty="0">
                  <a:solidFill>
                    <a:prstClr val="black"/>
                  </a:solidFill>
                  <a:latin typeface="Calibri"/>
                </a:rPr>
                <a:t>на </a:t>
              </a:r>
              <a:r>
                <a:rPr lang="ru-RU" sz="1000" kern="0" dirty="0" err="1">
                  <a:solidFill>
                    <a:prstClr val="black"/>
                  </a:solidFill>
                  <a:latin typeface="Calibri"/>
                </a:rPr>
                <a:t>споразумения</a:t>
              </a:r>
              <a:r>
                <a:rPr lang="ru-RU" sz="1000" kern="0" dirty="0">
                  <a:solidFill>
                    <a:prstClr val="black"/>
                  </a:solidFill>
                  <a:latin typeface="Calibri"/>
                </a:rPr>
                <a:t> с фин. посредници</a:t>
              </a:r>
            </a:p>
          </p:txBody>
        </p:sp>
        <p:cxnSp>
          <p:nvCxnSpPr>
            <p:cNvPr id="15" name="Straight Arrow Connector 14"/>
            <p:cNvCxnSpPr/>
            <p:nvPr/>
          </p:nvCxnSpPr>
          <p:spPr>
            <a:xfrm>
              <a:off x="364629" y="1631972"/>
              <a:ext cx="2478911" cy="0"/>
            </a:xfrm>
            <a:prstGeom prst="straightConnector1">
              <a:avLst/>
            </a:prstGeom>
            <a:noFill/>
            <a:ln w="15875" cap="flat" cmpd="sng" algn="ctr">
              <a:solidFill>
                <a:srgbClr val="114FA0"/>
              </a:solidFill>
              <a:prstDash val="solid"/>
              <a:headEnd type="arrow"/>
              <a:tailEnd type="arrow"/>
            </a:ln>
            <a:effectLst/>
          </p:spPr>
        </p:cxnSp>
        <p:sp>
          <p:nvSpPr>
            <p:cNvPr id="16" name="TextBox 15"/>
            <p:cNvSpPr txBox="1"/>
            <p:nvPr/>
          </p:nvSpPr>
          <p:spPr>
            <a:xfrm>
              <a:off x="1517134" y="1540285"/>
              <a:ext cx="318562" cy="153888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1000" kern="0" dirty="0" smtClean="0">
                  <a:solidFill>
                    <a:prstClr val="black"/>
                  </a:solidFill>
                  <a:latin typeface="Calibri"/>
                </a:rPr>
                <a:t> 2016 </a:t>
              </a:r>
              <a:endParaRPr lang="en-GB" sz="1000" kern="0" dirty="0" smtClean="0">
                <a:solidFill>
                  <a:prstClr val="black"/>
                </a:solidFill>
                <a:latin typeface="Calibri"/>
              </a:endParaRPr>
            </a:p>
          </p:txBody>
        </p:sp>
        <p:cxnSp>
          <p:nvCxnSpPr>
            <p:cNvPr id="17" name="Straight Arrow Connector 16"/>
            <p:cNvCxnSpPr/>
            <p:nvPr/>
          </p:nvCxnSpPr>
          <p:spPr>
            <a:xfrm flipV="1">
              <a:off x="2843540" y="1631972"/>
              <a:ext cx="3240628" cy="2"/>
            </a:xfrm>
            <a:prstGeom prst="straightConnector1">
              <a:avLst/>
            </a:prstGeom>
            <a:noFill/>
            <a:ln w="15875" cap="flat" cmpd="sng" algn="ctr">
              <a:solidFill>
                <a:srgbClr val="114FA0"/>
              </a:solidFill>
              <a:prstDash val="solid"/>
              <a:headEnd type="arrow"/>
              <a:tailEnd type="arrow"/>
            </a:ln>
            <a:effectLst/>
          </p:spPr>
        </p:cxnSp>
        <p:sp>
          <p:nvSpPr>
            <p:cNvPr id="18" name="TextBox 17"/>
            <p:cNvSpPr txBox="1"/>
            <p:nvPr/>
          </p:nvSpPr>
          <p:spPr>
            <a:xfrm>
              <a:off x="4067944" y="1555028"/>
              <a:ext cx="395910" cy="153888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1000" kern="0" dirty="0" smtClean="0">
                  <a:solidFill>
                    <a:prstClr val="black"/>
                  </a:solidFill>
                  <a:latin typeface="Calibri"/>
                </a:rPr>
                <a:t> 2017</a:t>
              </a:r>
              <a:endParaRPr lang="en-GB" sz="1000" kern="0" dirty="0" smtClea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9" name="Diagonal Stripe 18"/>
            <p:cNvSpPr/>
            <p:nvPr/>
          </p:nvSpPr>
          <p:spPr>
            <a:xfrm>
              <a:off x="7164287" y="1471429"/>
              <a:ext cx="432048" cy="903705"/>
            </a:xfrm>
            <a:prstGeom prst="diagStripe">
              <a:avLst>
                <a:gd name="adj" fmla="val 76728"/>
              </a:avLst>
            </a:prstGeom>
            <a:solidFill>
              <a:sysClr val="window" lastClr="FFFFFF"/>
            </a:solidFill>
            <a:ln w="3175" cap="flat" cmpd="sng" algn="ctr">
              <a:solidFill>
                <a:sysClr val="windowText" lastClr="000000"/>
              </a:solidFill>
              <a:prstDash val="dash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GB" kern="0" smtClean="0">
                <a:solidFill>
                  <a:prstClr val="black"/>
                </a:solidFill>
                <a:latin typeface="Calibri"/>
              </a:endParaRPr>
            </a:p>
          </p:txBody>
        </p:sp>
        <p:cxnSp>
          <p:nvCxnSpPr>
            <p:cNvPr id="20" name="Straight Arrow Connector 19"/>
            <p:cNvCxnSpPr/>
            <p:nvPr/>
          </p:nvCxnSpPr>
          <p:spPr>
            <a:xfrm flipH="1">
              <a:off x="6084168" y="1631973"/>
              <a:ext cx="1296143" cy="0"/>
            </a:xfrm>
            <a:prstGeom prst="straightConnector1">
              <a:avLst/>
            </a:prstGeom>
            <a:noFill/>
            <a:ln w="15875" cap="flat" cmpd="sng" algn="ctr">
              <a:solidFill>
                <a:srgbClr val="114FA0"/>
              </a:solidFill>
              <a:prstDash val="solid"/>
              <a:tailEnd type="arrow"/>
            </a:ln>
            <a:effectLst/>
          </p:spPr>
        </p:cxnSp>
        <p:sp>
          <p:nvSpPr>
            <p:cNvPr id="21" name="TextBox 20"/>
            <p:cNvSpPr txBox="1"/>
            <p:nvPr/>
          </p:nvSpPr>
          <p:spPr>
            <a:xfrm>
              <a:off x="6836758" y="1541328"/>
              <a:ext cx="288032" cy="153888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1000" kern="0" dirty="0" smtClean="0">
                  <a:solidFill>
                    <a:prstClr val="black"/>
                  </a:solidFill>
                  <a:latin typeface="Calibri"/>
                </a:rPr>
                <a:t>2018</a:t>
              </a:r>
              <a:endParaRPr lang="en-GB" sz="1000" kern="0" dirty="0" smtClean="0">
                <a:solidFill>
                  <a:prstClr val="black"/>
                </a:solidFill>
                <a:latin typeface="Calibri"/>
              </a:endParaRPr>
            </a:p>
          </p:txBody>
        </p:sp>
        <p:cxnSp>
          <p:nvCxnSpPr>
            <p:cNvPr id="22" name="Straight Arrow Connector 21"/>
            <p:cNvCxnSpPr/>
            <p:nvPr/>
          </p:nvCxnSpPr>
          <p:spPr>
            <a:xfrm flipV="1">
              <a:off x="7540583" y="1631972"/>
              <a:ext cx="1215220" cy="2"/>
            </a:xfrm>
            <a:prstGeom prst="straightConnector1">
              <a:avLst/>
            </a:prstGeom>
            <a:noFill/>
            <a:ln w="15875" cap="flat" cmpd="sng" algn="ctr">
              <a:solidFill>
                <a:srgbClr val="114FA0"/>
              </a:solidFill>
              <a:prstDash val="solid"/>
              <a:tailEnd type="arrow"/>
            </a:ln>
            <a:effectLst/>
          </p:spPr>
        </p:cxnSp>
        <p:sp>
          <p:nvSpPr>
            <p:cNvPr id="23" name="TextBox 22"/>
            <p:cNvSpPr txBox="1"/>
            <p:nvPr/>
          </p:nvSpPr>
          <p:spPr>
            <a:xfrm>
              <a:off x="8004177" y="1540285"/>
              <a:ext cx="288032" cy="153888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1000" kern="0" dirty="0" smtClean="0">
                  <a:solidFill>
                    <a:prstClr val="black"/>
                  </a:solidFill>
                  <a:latin typeface="Calibri"/>
                </a:rPr>
                <a:t>2019</a:t>
              </a:r>
              <a:endParaRPr lang="en-GB" sz="1000" kern="0" dirty="0" smtClea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2092663" y="1773643"/>
              <a:ext cx="2360361" cy="237888"/>
            </a:xfrm>
            <a:prstGeom prst="rect">
              <a:avLst/>
            </a:prstGeom>
            <a:pattFill prst="ltUpDiag">
              <a:fgClr>
                <a:srgbClr val="92D050"/>
              </a:fgClr>
              <a:bgClr>
                <a:sysClr val="window" lastClr="FFFFFF"/>
              </a:bgClr>
            </a:patt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>
              <a:normAutofit/>
            </a:bodyPr>
            <a:lstStyle/>
            <a:p>
              <a:pPr algn="ctr">
                <a:defRPr/>
              </a:pPr>
              <a:r>
                <a:rPr lang="bg-BG" sz="1000" b="1" kern="0" dirty="0" smtClean="0">
                  <a:solidFill>
                    <a:prstClr val="black"/>
                  </a:solidFill>
                  <a:latin typeface="Calibri"/>
                </a:rPr>
                <a:t>25,6 </a:t>
              </a:r>
              <a:r>
                <a:rPr lang="en-US" sz="1000" b="1" kern="0" dirty="0" smtClean="0">
                  <a:solidFill>
                    <a:prstClr val="black"/>
                  </a:solidFill>
                  <a:latin typeface="Calibri"/>
                </a:rPr>
                <a:t>%</a:t>
              </a:r>
              <a:endParaRPr lang="en-GB" sz="1000" b="1" kern="0" dirty="0" smtClea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2459735" y="1468629"/>
              <a:ext cx="50405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800" kern="0" dirty="0" smtClean="0">
                  <a:solidFill>
                    <a:prstClr val="black"/>
                  </a:solidFill>
                  <a:latin typeface="Calibri"/>
                </a:rPr>
                <a:t>31</a:t>
              </a:r>
              <a:r>
                <a:rPr lang="en-US" sz="800" kern="0" baseline="30000" dirty="0" smtClean="0">
                  <a:solidFill>
                    <a:prstClr val="black"/>
                  </a:solidFill>
                  <a:latin typeface="Calibri"/>
                </a:rPr>
                <a:t>st</a:t>
              </a:r>
              <a:r>
                <a:rPr lang="en-US" sz="800" kern="0" dirty="0" smtClean="0">
                  <a:solidFill>
                    <a:prstClr val="black"/>
                  </a:solidFill>
                  <a:latin typeface="Calibri"/>
                </a:rPr>
                <a:t> Dec</a:t>
              </a:r>
              <a:endParaRPr lang="en-GB" sz="800" kern="0" dirty="0" smtClea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8369693" y="1468628"/>
              <a:ext cx="50405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800" kern="0" dirty="0" smtClean="0">
                  <a:solidFill>
                    <a:prstClr val="black"/>
                  </a:solidFill>
                  <a:latin typeface="Calibri"/>
                </a:rPr>
                <a:t>31</a:t>
              </a:r>
              <a:r>
                <a:rPr lang="en-US" sz="800" kern="0" baseline="30000" dirty="0" smtClean="0">
                  <a:solidFill>
                    <a:prstClr val="black"/>
                  </a:solidFill>
                  <a:latin typeface="Calibri"/>
                </a:rPr>
                <a:t>st</a:t>
              </a:r>
              <a:r>
                <a:rPr lang="en-US" sz="800" kern="0" dirty="0" smtClean="0">
                  <a:solidFill>
                    <a:prstClr val="black"/>
                  </a:solidFill>
                  <a:latin typeface="Calibri"/>
                </a:rPr>
                <a:t> Dec</a:t>
              </a:r>
              <a:endParaRPr lang="en-GB" sz="800" kern="0" dirty="0" smtClean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4505130" y="1431917"/>
              <a:ext cx="50405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800" kern="0" dirty="0" smtClean="0">
                  <a:solidFill>
                    <a:prstClr val="black"/>
                  </a:solidFill>
                  <a:latin typeface="Calibri"/>
                </a:rPr>
                <a:t>31</a:t>
              </a:r>
              <a:r>
                <a:rPr lang="bg-BG" sz="800" kern="0" dirty="0" smtClean="0">
                  <a:solidFill>
                    <a:prstClr val="black"/>
                  </a:solidFill>
                  <a:latin typeface="Calibri"/>
                </a:rPr>
                <a:t> Юни</a:t>
              </a:r>
              <a:endParaRPr lang="en-GB" sz="800" kern="0" dirty="0" smtClean="0">
                <a:solidFill>
                  <a:prstClr val="black"/>
                </a:solidFill>
                <a:latin typeface="Calibri"/>
              </a:endParaRPr>
            </a:p>
          </p:txBody>
        </p:sp>
        <p:cxnSp>
          <p:nvCxnSpPr>
            <p:cNvPr id="28" name="Straight Connector 27"/>
            <p:cNvCxnSpPr/>
            <p:nvPr/>
          </p:nvCxnSpPr>
          <p:spPr>
            <a:xfrm flipV="1">
              <a:off x="4453024" y="1471429"/>
              <a:ext cx="0" cy="600285"/>
            </a:xfrm>
            <a:prstGeom prst="line">
              <a:avLst/>
            </a:prstGeom>
            <a:noFill/>
            <a:ln w="12700" cap="flat" cmpd="sng" algn="ctr">
              <a:solidFill>
                <a:srgbClr val="114FA0"/>
              </a:solidFill>
              <a:prstDash val="solid"/>
            </a:ln>
            <a:effectLst/>
          </p:spPr>
        </p:cxnSp>
      </p:grpSp>
      <p:graphicFrame>
        <p:nvGraphicFramePr>
          <p:cNvPr id="30" name="Chart 2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46140978"/>
              </p:ext>
            </p:extLst>
          </p:nvPr>
        </p:nvGraphicFramePr>
        <p:xfrm>
          <a:off x="6084168" y="4797152"/>
          <a:ext cx="3185003" cy="1800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586102226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/>
          <a:lstStyle/>
          <a:p>
            <a:fld id="{1BFBAB30-7D6C-482F-9445-DA24C961621B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616477" y="260648"/>
            <a:ext cx="7873949" cy="738664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320040" indent="-320040" algn="ctr">
              <a:buClr>
                <a:schemeClr val="accent6">
                  <a:lumMod val="75000"/>
                </a:schemeClr>
              </a:buClr>
              <a:buSzPct val="128000"/>
            </a:pPr>
            <a:r>
              <a:rPr lang="bg-BG" sz="2500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cs typeface="+mj-cs"/>
              </a:rPr>
              <a:t>Напредък в изпълнението</a:t>
            </a:r>
            <a:endParaRPr lang="en-US" sz="2500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+mj-lt"/>
              <a:cs typeface="+mj-cs"/>
            </a:endParaRPr>
          </a:p>
          <a:p>
            <a:pPr algn="ctr"/>
            <a:r>
              <a:rPr lang="bg-BG" sz="1600" dirty="0" smtClean="0">
                <a:solidFill>
                  <a:schemeClr val="bg1">
                    <a:lumMod val="50000"/>
                  </a:schemeClr>
                </a:solidFill>
              </a:rPr>
              <a:t>Статистически данни за изпълнението на ОПИМСП към </a:t>
            </a:r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</a:rPr>
              <a:t>30</a:t>
            </a:r>
            <a:r>
              <a:rPr lang="bg-BG" sz="1600" dirty="0" smtClean="0">
                <a:solidFill>
                  <a:schemeClr val="bg1">
                    <a:lumMod val="50000"/>
                  </a:schemeClr>
                </a:solidFill>
              </a:rPr>
              <a:t>.</a:t>
            </a:r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</a:rPr>
              <a:t>06</a:t>
            </a:r>
            <a:r>
              <a:rPr lang="bg-BG" sz="1600" dirty="0" smtClean="0">
                <a:solidFill>
                  <a:schemeClr val="bg1">
                    <a:lumMod val="50000"/>
                  </a:schemeClr>
                </a:solidFill>
              </a:rPr>
              <a:t>.</a:t>
            </a:r>
            <a:r>
              <a:rPr lang="en-US" sz="1600" dirty="0" smtClean="0">
                <a:solidFill>
                  <a:schemeClr val="bg1">
                    <a:lumMod val="50000"/>
                  </a:schemeClr>
                </a:solidFill>
              </a:rPr>
              <a:t>2017 </a:t>
            </a:r>
            <a:r>
              <a:rPr lang="bg-BG" sz="1600" dirty="0" smtClean="0">
                <a:solidFill>
                  <a:schemeClr val="bg1">
                    <a:lumMod val="50000"/>
                  </a:schemeClr>
                </a:solidFill>
              </a:rPr>
              <a:t>г.</a:t>
            </a:r>
            <a:endParaRPr lang="en-GB" sz="180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92" name="Group 91"/>
          <p:cNvGrpSpPr/>
          <p:nvPr/>
        </p:nvGrpSpPr>
        <p:grpSpPr>
          <a:xfrm>
            <a:off x="168107" y="4265401"/>
            <a:ext cx="8601681" cy="2057196"/>
            <a:chOff x="272068" y="1288852"/>
            <a:chExt cx="8601681" cy="2057196"/>
          </a:xfrm>
        </p:grpSpPr>
        <p:sp>
          <p:nvSpPr>
            <p:cNvPr id="5" name="Rectangle 4"/>
            <p:cNvSpPr/>
            <p:nvPr/>
          </p:nvSpPr>
          <p:spPr>
            <a:xfrm>
              <a:off x="272068" y="1738960"/>
              <a:ext cx="8432275" cy="32188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7596335" y="2153171"/>
              <a:ext cx="122661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bg-BG" sz="1000" dirty="0" smtClean="0"/>
                <a:t>Цел</a:t>
              </a:r>
              <a:r>
                <a:rPr lang="en-US" sz="1000" dirty="0" smtClean="0"/>
                <a:t>: </a:t>
              </a:r>
              <a:r>
                <a:rPr lang="bg-BG" sz="1000" dirty="0" smtClean="0"/>
                <a:t>60</a:t>
              </a:r>
              <a:r>
                <a:rPr lang="en-US" sz="1000" dirty="0" smtClean="0"/>
                <a:t>8</a:t>
              </a:r>
              <a:r>
                <a:rPr lang="bg-BG" sz="1000" dirty="0" smtClean="0"/>
                <a:t> млн. евро</a:t>
              </a:r>
              <a:endParaRPr lang="en-GB" sz="1000" dirty="0"/>
            </a:p>
          </p:txBody>
        </p:sp>
        <p:sp>
          <p:nvSpPr>
            <p:cNvPr id="7" name="Line Callout 2 6"/>
            <p:cNvSpPr/>
            <p:nvPr/>
          </p:nvSpPr>
          <p:spPr>
            <a:xfrm>
              <a:off x="544630" y="2276282"/>
              <a:ext cx="1291066" cy="614124"/>
            </a:xfrm>
            <a:prstGeom prst="borderCallout2">
              <a:avLst>
                <a:gd name="adj1" fmla="val 18750"/>
                <a:gd name="adj2" fmla="val 520"/>
                <a:gd name="adj3" fmla="val 18750"/>
                <a:gd name="adj4" fmla="val -16667"/>
                <a:gd name="adj5" fmla="val -86183"/>
                <a:gd name="adj6" fmla="val -16266"/>
              </a:avLst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900" dirty="0" smtClean="0">
                  <a:solidFill>
                    <a:schemeClr val="tx1"/>
                  </a:solidFill>
                </a:rPr>
                <a:t>2</a:t>
              </a:r>
              <a:r>
                <a:rPr lang="bg-BG" sz="900" dirty="0" smtClean="0">
                  <a:solidFill>
                    <a:schemeClr val="tx1"/>
                  </a:solidFill>
                </a:rPr>
                <a:t>-ри</a:t>
              </a:r>
              <a:r>
                <a:rPr lang="en-US" sz="900" baseline="30000" dirty="0" smtClean="0">
                  <a:solidFill>
                    <a:schemeClr val="tx1"/>
                  </a:solidFill>
                </a:rPr>
                <a:t> </a:t>
              </a:r>
              <a:r>
                <a:rPr lang="bg-BG" sz="900" dirty="0" smtClean="0">
                  <a:solidFill>
                    <a:schemeClr val="tx1"/>
                  </a:solidFill>
                </a:rPr>
                <a:t>март</a:t>
              </a:r>
              <a:r>
                <a:rPr lang="en-US" sz="900" dirty="0" smtClean="0">
                  <a:solidFill>
                    <a:schemeClr val="tx1"/>
                  </a:solidFill>
                </a:rPr>
                <a:t> 2016:</a:t>
              </a:r>
            </a:p>
            <a:p>
              <a:r>
                <a:rPr lang="bg-BG" sz="900" dirty="0" smtClean="0">
                  <a:solidFill>
                    <a:schemeClr val="tx1"/>
                  </a:solidFill>
                </a:rPr>
                <a:t>Подписване на споразумението за финансиране</a:t>
              </a:r>
              <a:endParaRPr lang="en-GB" sz="900" dirty="0">
                <a:solidFill>
                  <a:schemeClr val="tx1"/>
                </a:solidFill>
              </a:endParaRPr>
            </a:p>
          </p:txBody>
        </p:sp>
        <p:sp>
          <p:nvSpPr>
            <p:cNvPr id="8" name="Line Callout 2 7"/>
            <p:cNvSpPr/>
            <p:nvPr/>
          </p:nvSpPr>
          <p:spPr>
            <a:xfrm>
              <a:off x="2843540" y="2527659"/>
              <a:ext cx="1644665" cy="360040"/>
            </a:xfrm>
            <a:prstGeom prst="borderCallout2">
              <a:avLst>
                <a:gd name="adj1" fmla="val 18750"/>
                <a:gd name="adj2" fmla="val 50"/>
                <a:gd name="adj3" fmla="val 18750"/>
                <a:gd name="adj4" fmla="val -16667"/>
                <a:gd name="adj5" fmla="val -218759"/>
                <a:gd name="adj6" fmla="val -16861"/>
              </a:avLst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bg-BG" sz="1000" dirty="0" smtClean="0">
                  <a:solidFill>
                    <a:schemeClr val="tx1"/>
                  </a:solidFill>
                </a:rPr>
                <a:t>1-ви дек</a:t>
              </a:r>
              <a:r>
                <a:rPr lang="en-US" sz="1000" dirty="0" smtClean="0">
                  <a:solidFill>
                    <a:schemeClr val="tx1"/>
                  </a:solidFill>
                </a:rPr>
                <a:t>, 2016: 4 </a:t>
              </a:r>
              <a:r>
                <a:rPr lang="bg-BG" sz="1000" dirty="0" smtClean="0">
                  <a:solidFill>
                    <a:schemeClr val="tx1"/>
                  </a:solidFill>
                </a:rPr>
                <a:t>банки започват отдаването</a:t>
              </a:r>
              <a:endParaRPr lang="en-US" sz="10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" name="Line Callout 2 8"/>
            <p:cNvSpPr/>
            <p:nvPr/>
          </p:nvSpPr>
          <p:spPr>
            <a:xfrm>
              <a:off x="2480948" y="2994455"/>
              <a:ext cx="2007257" cy="351593"/>
            </a:xfrm>
            <a:prstGeom prst="borderCallout2">
              <a:avLst>
                <a:gd name="adj1" fmla="val 18750"/>
                <a:gd name="adj2" fmla="val -290"/>
                <a:gd name="adj3" fmla="val 18750"/>
                <a:gd name="adj4" fmla="val -16667"/>
                <a:gd name="adj5" fmla="val -356295"/>
                <a:gd name="adj6" fmla="val -16331"/>
              </a:avLst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0" dirty="0" smtClean="0">
                  <a:solidFill>
                    <a:schemeClr val="tx1"/>
                  </a:solidFill>
                </a:rPr>
                <a:t> </a:t>
              </a:r>
              <a:r>
                <a:rPr lang="bg-BG" sz="1000" dirty="0">
                  <a:solidFill>
                    <a:prstClr val="black"/>
                  </a:solidFill>
                </a:rPr>
                <a:t>ноем</a:t>
              </a:r>
              <a:r>
                <a:rPr lang="en-US" sz="1000" dirty="0">
                  <a:solidFill>
                    <a:prstClr val="black"/>
                  </a:solidFill>
                </a:rPr>
                <a:t>/ </a:t>
              </a:r>
              <a:r>
                <a:rPr lang="bg-BG" sz="1000" dirty="0">
                  <a:solidFill>
                    <a:prstClr val="black"/>
                  </a:solidFill>
                </a:rPr>
                <a:t>дек</a:t>
              </a:r>
              <a:r>
                <a:rPr lang="en-US" sz="1000" dirty="0">
                  <a:solidFill>
                    <a:prstClr val="black"/>
                  </a:solidFill>
                </a:rPr>
                <a:t> </a:t>
              </a:r>
              <a:r>
                <a:rPr lang="en-US" sz="1000" dirty="0" smtClean="0">
                  <a:solidFill>
                    <a:prstClr val="black"/>
                  </a:solidFill>
                </a:rPr>
                <a:t>2016</a:t>
              </a:r>
              <a:r>
                <a:rPr lang="bg-BG" sz="1000" dirty="0" smtClean="0">
                  <a:solidFill>
                    <a:prstClr val="black"/>
                  </a:solidFill>
                </a:rPr>
                <a:t> - Подписване </a:t>
              </a:r>
              <a:r>
                <a:rPr lang="bg-BG" sz="1000" dirty="0">
                  <a:solidFill>
                    <a:prstClr val="black"/>
                  </a:solidFill>
                </a:rPr>
                <a:t>на споразумения с фин. посредници</a:t>
              </a:r>
              <a:endParaRPr lang="en-US" sz="1000" dirty="0">
                <a:solidFill>
                  <a:prstClr val="black"/>
                </a:solidFill>
              </a:endParaRPr>
            </a:p>
          </p:txBody>
        </p:sp>
        <p:cxnSp>
          <p:nvCxnSpPr>
            <p:cNvPr id="19" name="Straight Arrow Connector 18"/>
            <p:cNvCxnSpPr/>
            <p:nvPr/>
          </p:nvCxnSpPr>
          <p:spPr>
            <a:xfrm>
              <a:off x="364629" y="1631972"/>
              <a:ext cx="2478911" cy="0"/>
            </a:xfrm>
            <a:prstGeom prst="straightConnector1">
              <a:avLst/>
            </a:prstGeom>
            <a:ln w="15875">
              <a:solidFill>
                <a:schemeClr val="tx2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/>
            <p:cNvSpPr txBox="1"/>
            <p:nvPr/>
          </p:nvSpPr>
          <p:spPr>
            <a:xfrm>
              <a:off x="1517134" y="1540285"/>
              <a:ext cx="318562" cy="15388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dirty="0" smtClean="0"/>
                <a:t> 2016 </a:t>
              </a:r>
              <a:endParaRPr lang="en-GB" sz="1000" dirty="0"/>
            </a:p>
          </p:txBody>
        </p:sp>
        <p:cxnSp>
          <p:nvCxnSpPr>
            <p:cNvPr id="22" name="Straight Arrow Connector 21"/>
            <p:cNvCxnSpPr/>
            <p:nvPr/>
          </p:nvCxnSpPr>
          <p:spPr>
            <a:xfrm flipV="1">
              <a:off x="2843540" y="1631972"/>
              <a:ext cx="3240628" cy="2"/>
            </a:xfrm>
            <a:prstGeom prst="straightConnector1">
              <a:avLst/>
            </a:prstGeom>
            <a:ln w="15875">
              <a:solidFill>
                <a:schemeClr val="tx2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/>
            <p:cNvSpPr txBox="1"/>
            <p:nvPr/>
          </p:nvSpPr>
          <p:spPr>
            <a:xfrm>
              <a:off x="4380327" y="1288852"/>
              <a:ext cx="395910" cy="15388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dirty="0" smtClean="0"/>
                <a:t> </a:t>
              </a:r>
              <a:r>
                <a:rPr lang="bg-BG" sz="1000" dirty="0" smtClean="0"/>
                <a:t> </a:t>
              </a:r>
              <a:r>
                <a:rPr lang="en-US" sz="1000" dirty="0" smtClean="0"/>
                <a:t>2017</a:t>
              </a:r>
              <a:endParaRPr lang="en-GB" sz="1000" dirty="0"/>
            </a:p>
          </p:txBody>
        </p:sp>
        <p:sp>
          <p:nvSpPr>
            <p:cNvPr id="26" name="Diagonal Stripe 25"/>
            <p:cNvSpPr/>
            <p:nvPr/>
          </p:nvSpPr>
          <p:spPr>
            <a:xfrm>
              <a:off x="7164287" y="1471429"/>
              <a:ext cx="432048" cy="903705"/>
            </a:xfrm>
            <a:prstGeom prst="diagStripe">
              <a:avLst>
                <a:gd name="adj" fmla="val 76728"/>
              </a:avLst>
            </a:prstGeom>
            <a:solidFill>
              <a:schemeClr val="bg1"/>
            </a:solidFill>
            <a:ln w="3175"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cxnSp>
          <p:nvCxnSpPr>
            <p:cNvPr id="33" name="Straight Arrow Connector 32"/>
            <p:cNvCxnSpPr/>
            <p:nvPr/>
          </p:nvCxnSpPr>
          <p:spPr>
            <a:xfrm flipH="1">
              <a:off x="6084168" y="1631973"/>
              <a:ext cx="1296143" cy="0"/>
            </a:xfrm>
            <a:prstGeom prst="straightConnector1">
              <a:avLst/>
            </a:prstGeom>
            <a:ln w="15875">
              <a:solidFill>
                <a:schemeClr val="tx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Box 36"/>
            <p:cNvSpPr txBox="1"/>
            <p:nvPr/>
          </p:nvSpPr>
          <p:spPr>
            <a:xfrm>
              <a:off x="6836758" y="1541328"/>
              <a:ext cx="288032" cy="15388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dirty="0" smtClean="0"/>
                <a:t>2018</a:t>
              </a:r>
              <a:endParaRPr lang="en-GB" sz="1000" dirty="0"/>
            </a:p>
          </p:txBody>
        </p:sp>
        <p:cxnSp>
          <p:nvCxnSpPr>
            <p:cNvPr id="38" name="Straight Arrow Connector 37"/>
            <p:cNvCxnSpPr/>
            <p:nvPr/>
          </p:nvCxnSpPr>
          <p:spPr>
            <a:xfrm flipV="1">
              <a:off x="7540583" y="1631972"/>
              <a:ext cx="1215220" cy="2"/>
            </a:xfrm>
            <a:prstGeom prst="straightConnector1">
              <a:avLst/>
            </a:prstGeom>
            <a:ln w="15875">
              <a:solidFill>
                <a:schemeClr val="tx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Box 40"/>
            <p:cNvSpPr txBox="1"/>
            <p:nvPr/>
          </p:nvSpPr>
          <p:spPr>
            <a:xfrm>
              <a:off x="8004177" y="1540285"/>
              <a:ext cx="288032" cy="15388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dirty="0" smtClean="0"/>
                <a:t>2019</a:t>
              </a:r>
              <a:endParaRPr lang="en-GB" sz="1000" dirty="0"/>
            </a:p>
          </p:txBody>
        </p:sp>
        <p:sp>
          <p:nvSpPr>
            <p:cNvPr id="42" name="Rectangle 41"/>
            <p:cNvSpPr/>
            <p:nvPr/>
          </p:nvSpPr>
          <p:spPr>
            <a:xfrm>
              <a:off x="2587729" y="1773643"/>
              <a:ext cx="1990553" cy="237888"/>
            </a:xfrm>
            <a:prstGeom prst="rect">
              <a:avLst/>
            </a:prstGeom>
            <a:pattFill prst="ltUpDiag">
              <a:fgClr>
                <a:srgbClr val="92D050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rmAutofit/>
            </a:bodyPr>
            <a:lstStyle/>
            <a:p>
              <a:pPr algn="ctr"/>
              <a:r>
                <a:rPr lang="bg-BG" sz="1000" b="1" dirty="0" smtClean="0">
                  <a:solidFill>
                    <a:schemeClr val="tx1"/>
                  </a:solidFill>
                </a:rPr>
                <a:t>25,6</a:t>
              </a:r>
              <a:r>
                <a:rPr lang="en-US" sz="1000" b="1" dirty="0" smtClean="0">
                  <a:solidFill>
                    <a:schemeClr val="tx1"/>
                  </a:solidFill>
                </a:rPr>
                <a:t>%</a:t>
              </a:r>
              <a:endParaRPr lang="en-GB" sz="1000" b="1" dirty="0">
                <a:solidFill>
                  <a:schemeClr val="tx1"/>
                </a:solidFill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2459735" y="1468629"/>
              <a:ext cx="50405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 smtClean="0"/>
                <a:t>31</a:t>
              </a:r>
              <a:r>
                <a:rPr lang="bg-BG" sz="800" dirty="0" smtClean="0"/>
                <a:t>-ви</a:t>
              </a:r>
              <a:r>
                <a:rPr lang="en-US" sz="800" dirty="0" smtClean="0"/>
                <a:t> </a:t>
              </a:r>
              <a:r>
                <a:rPr lang="bg-BG" sz="800" dirty="0" smtClean="0"/>
                <a:t>Дек</a:t>
              </a:r>
              <a:endParaRPr lang="en-GB" sz="800" dirty="0"/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8369693" y="1468628"/>
              <a:ext cx="50405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 smtClean="0"/>
                <a:t>31</a:t>
              </a:r>
              <a:r>
                <a:rPr lang="bg-BG" sz="800" dirty="0" smtClean="0"/>
                <a:t>-ви</a:t>
              </a:r>
              <a:r>
                <a:rPr lang="en-US" sz="800" dirty="0" smtClean="0"/>
                <a:t> </a:t>
              </a:r>
              <a:r>
                <a:rPr lang="bg-BG" sz="800" dirty="0" smtClean="0"/>
                <a:t>Дек</a:t>
              </a:r>
              <a:endParaRPr lang="en-GB" sz="800" dirty="0"/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4002218" y="1478084"/>
              <a:ext cx="576064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 smtClean="0"/>
                <a:t>30</a:t>
              </a:r>
              <a:r>
                <a:rPr lang="bg-BG" sz="800" dirty="0" smtClean="0"/>
                <a:t>-ти</a:t>
              </a:r>
              <a:r>
                <a:rPr lang="en-US" sz="800" dirty="0" smtClean="0"/>
                <a:t> </a:t>
              </a:r>
              <a:r>
                <a:rPr lang="bg-BG" sz="800" dirty="0" smtClean="0"/>
                <a:t> Юни</a:t>
              </a:r>
              <a:endParaRPr lang="en-GB" sz="800" dirty="0"/>
            </a:p>
          </p:txBody>
        </p:sp>
      </p:grpSp>
      <p:grpSp>
        <p:nvGrpSpPr>
          <p:cNvPr id="91" name="Group 90"/>
          <p:cNvGrpSpPr/>
          <p:nvPr/>
        </p:nvGrpSpPr>
        <p:grpSpPr>
          <a:xfrm>
            <a:off x="-38492" y="1700808"/>
            <a:ext cx="2863280" cy="1761026"/>
            <a:chOff x="4788022" y="4250980"/>
            <a:chExt cx="2863280" cy="1761026"/>
          </a:xfrm>
        </p:grpSpPr>
        <p:sp>
          <p:nvSpPr>
            <p:cNvPr id="90" name="Block Arc 89"/>
            <p:cNvSpPr/>
            <p:nvPr/>
          </p:nvSpPr>
          <p:spPr>
            <a:xfrm rot="5400000">
              <a:off x="4335987" y="4703015"/>
              <a:ext cx="1761026" cy="856955"/>
            </a:xfrm>
            <a:prstGeom prst="blockArc">
              <a:avLst>
                <a:gd name="adj1" fmla="val 10816396"/>
                <a:gd name="adj2" fmla="val 2709"/>
                <a:gd name="adj3" fmla="val 4100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grpSp>
          <p:nvGrpSpPr>
            <p:cNvPr id="83" name="Group 82"/>
            <p:cNvGrpSpPr/>
            <p:nvPr/>
          </p:nvGrpSpPr>
          <p:grpSpPr>
            <a:xfrm>
              <a:off x="5087182" y="4326214"/>
              <a:ext cx="2564120" cy="324000"/>
              <a:chOff x="5460985" y="4550149"/>
              <a:chExt cx="2564120" cy="324000"/>
            </a:xfrm>
          </p:grpSpPr>
          <p:grpSp>
            <p:nvGrpSpPr>
              <p:cNvPr id="68" name="Group 67"/>
              <p:cNvGrpSpPr/>
              <p:nvPr/>
            </p:nvGrpSpPr>
            <p:grpSpPr>
              <a:xfrm>
                <a:off x="5936443" y="4599601"/>
                <a:ext cx="2088662" cy="225097"/>
                <a:chOff x="175349" y="112476"/>
                <a:chExt cx="2088662" cy="225097"/>
              </a:xfrm>
            </p:grpSpPr>
            <p:sp>
              <p:nvSpPr>
                <p:cNvPr id="69" name="Rectangle 68"/>
                <p:cNvSpPr/>
                <p:nvPr/>
              </p:nvSpPr>
              <p:spPr>
                <a:xfrm>
                  <a:off x="175349" y="112476"/>
                  <a:ext cx="2088662" cy="225097"/>
                </a:xfrm>
                <a:prstGeom prst="rect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2">
                  <a:schemeClr val="accent2">
                    <a:shade val="80000"/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l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l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70" name="Rectangle 69"/>
                <p:cNvSpPr/>
                <p:nvPr/>
              </p:nvSpPr>
              <p:spPr>
                <a:xfrm>
                  <a:off x="175349" y="112476"/>
                  <a:ext cx="2088662" cy="225097"/>
                </a:xfrm>
                <a:prstGeom prst="rect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178671" tIns="25400" rIns="25400" bIns="25400" numCol="1" spcCol="1270" anchor="ctr" anchorCtr="0">
                  <a:noAutofit/>
                </a:bodyPr>
                <a:lstStyle/>
                <a:p>
                  <a:pPr defTabSz="4445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bg-BG" sz="1000" dirty="0">
                      <a:solidFill>
                        <a:prstClr val="black">
                          <a:hueOff val="0"/>
                          <a:satOff val="0"/>
                          <a:lumOff val="0"/>
                          <a:alphaOff val="0"/>
                        </a:prstClr>
                      </a:solidFill>
                    </a:rPr>
                    <a:t>Отдадени към</a:t>
                  </a:r>
                  <a:r>
                    <a:rPr lang="en-US" sz="1000" dirty="0">
                      <a:solidFill>
                        <a:prstClr val="black">
                          <a:hueOff val="0"/>
                          <a:satOff val="0"/>
                          <a:lumOff val="0"/>
                          <a:alphaOff val="0"/>
                        </a:prstClr>
                      </a:solidFill>
                    </a:rPr>
                    <a:t> </a:t>
                  </a:r>
                  <a:r>
                    <a:rPr lang="en-US" sz="1000" dirty="0" smtClean="0">
                      <a:solidFill>
                        <a:prstClr val="black">
                          <a:hueOff val="0"/>
                          <a:satOff val="0"/>
                          <a:lumOff val="0"/>
                          <a:alphaOff val="0"/>
                        </a:prstClr>
                      </a:solidFill>
                    </a:rPr>
                    <a:t>30</a:t>
                  </a:r>
                  <a:r>
                    <a:rPr lang="bg-BG" sz="1000" dirty="0" smtClean="0">
                      <a:solidFill>
                        <a:prstClr val="black">
                          <a:hueOff val="0"/>
                          <a:satOff val="0"/>
                          <a:lumOff val="0"/>
                          <a:alphaOff val="0"/>
                        </a:prstClr>
                      </a:solidFill>
                    </a:rPr>
                    <a:t>.</a:t>
                  </a:r>
                  <a:r>
                    <a:rPr lang="en-US" sz="1000" dirty="0" smtClean="0">
                      <a:solidFill>
                        <a:prstClr val="black">
                          <a:hueOff val="0"/>
                          <a:satOff val="0"/>
                          <a:lumOff val="0"/>
                          <a:alphaOff val="0"/>
                        </a:prstClr>
                      </a:solidFill>
                    </a:rPr>
                    <a:t>06</a:t>
                  </a:r>
                  <a:r>
                    <a:rPr lang="bg-BG" sz="1000" dirty="0" smtClean="0">
                      <a:solidFill>
                        <a:prstClr val="black">
                          <a:hueOff val="0"/>
                          <a:satOff val="0"/>
                          <a:lumOff val="0"/>
                          <a:alphaOff val="0"/>
                        </a:prstClr>
                      </a:solidFill>
                    </a:rPr>
                    <a:t>.201</a:t>
                  </a:r>
                  <a:r>
                    <a:rPr lang="en-US" sz="1000" dirty="0" smtClean="0">
                      <a:solidFill>
                        <a:prstClr val="black">
                          <a:hueOff val="0"/>
                          <a:satOff val="0"/>
                          <a:lumOff val="0"/>
                          <a:alphaOff val="0"/>
                        </a:prstClr>
                      </a:solidFill>
                    </a:rPr>
                    <a:t>7</a:t>
                  </a:r>
                  <a:endParaRPr lang="en-GB" sz="1000" dirty="0">
                    <a:solidFill>
                      <a:prstClr val="black">
                        <a:hueOff val="0"/>
                        <a:satOff val="0"/>
                        <a:lumOff val="0"/>
                        <a:alphaOff val="0"/>
                      </a:prstClr>
                    </a:solidFill>
                  </a:endParaRPr>
                </a:p>
              </p:txBody>
            </p:sp>
          </p:grpSp>
          <p:sp>
            <p:nvSpPr>
              <p:cNvPr id="63" name="Oval 62"/>
              <p:cNvSpPr/>
              <p:nvPr/>
            </p:nvSpPr>
            <p:spPr>
              <a:xfrm>
                <a:off x="5460985" y="4550149"/>
                <a:ext cx="528898" cy="32400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algn="ctr"/>
                <a:r>
                  <a:rPr lang="en-US" sz="1000" b="1" dirty="0" smtClean="0">
                    <a:solidFill>
                      <a:schemeClr val="tx1"/>
                    </a:solidFill>
                  </a:rPr>
                  <a:t>156 m</a:t>
                </a:r>
                <a:endParaRPr lang="en-GB" sz="1000" b="1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7" name="Group 86"/>
            <p:cNvGrpSpPr/>
            <p:nvPr/>
          </p:nvGrpSpPr>
          <p:grpSpPr>
            <a:xfrm>
              <a:off x="5292080" y="5688005"/>
              <a:ext cx="2359222" cy="324000"/>
              <a:chOff x="5683023" y="5942632"/>
              <a:chExt cx="2359222" cy="324000"/>
            </a:xfrm>
          </p:grpSpPr>
          <p:sp>
            <p:nvSpPr>
              <p:cNvPr id="82" name="Rectangle 81"/>
              <p:cNvSpPr/>
              <p:nvPr/>
            </p:nvSpPr>
            <p:spPr>
              <a:xfrm>
                <a:off x="5978298" y="5992084"/>
                <a:ext cx="2063947" cy="225097"/>
              </a:xfrm>
              <a:prstGeom prst="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78671" tIns="25400" rIns="25400" bIns="25400" numCol="1" spcCol="1270" anchor="ctr" anchorCtr="0">
                <a:noAutofit/>
              </a:bodyPr>
              <a:lstStyle/>
              <a:p>
                <a:pPr defTabSz="444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bg-BG" sz="1000" b="1" dirty="0">
                    <a:solidFill>
                      <a:srgbClr val="FF0000"/>
                    </a:solidFill>
                  </a:rPr>
                  <a:t>Средно претеглена </a:t>
                </a:r>
                <a:r>
                  <a:rPr lang="bg-BG" sz="1000" b="1" dirty="0" smtClean="0">
                    <a:solidFill>
                      <a:srgbClr val="FF0000"/>
                    </a:solidFill>
                  </a:rPr>
                  <a:t>лихва</a:t>
                </a:r>
                <a:r>
                  <a:rPr lang="en-US" sz="1000" b="1" baseline="30000" dirty="0" smtClean="0">
                    <a:solidFill>
                      <a:srgbClr val="FF0000"/>
                    </a:solidFill>
                  </a:rPr>
                  <a:t>2</a:t>
                </a:r>
                <a:endParaRPr lang="en-GB" sz="1000" b="1" kern="1200" baseline="30000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67" name="Oval 66"/>
              <p:cNvSpPr/>
              <p:nvPr/>
            </p:nvSpPr>
            <p:spPr>
              <a:xfrm>
                <a:off x="5683023" y="5942632"/>
                <a:ext cx="324000" cy="32400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>
                <a:noAutofit/>
              </a:bodyPr>
              <a:lstStyle/>
              <a:p>
                <a:pPr algn="ctr"/>
                <a:r>
                  <a:rPr lang="en-US" sz="900" b="1" dirty="0" smtClean="0">
                    <a:solidFill>
                      <a:srgbClr val="FF0000"/>
                    </a:solidFill>
                  </a:rPr>
                  <a:t>3.4</a:t>
                </a:r>
                <a:r>
                  <a:rPr lang="en-US" sz="900" b="1" dirty="0" smtClean="0">
                    <a:solidFill>
                      <a:schemeClr val="tx1"/>
                    </a:solidFill>
                  </a:rPr>
                  <a:t>%</a:t>
                </a:r>
                <a:endParaRPr lang="en-GB" sz="900" b="1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6" name="Group 85"/>
            <p:cNvGrpSpPr/>
            <p:nvPr/>
          </p:nvGrpSpPr>
          <p:grpSpPr>
            <a:xfrm>
              <a:off x="5442991" y="5240278"/>
              <a:ext cx="2208311" cy="324000"/>
              <a:chOff x="5665883" y="5597783"/>
              <a:chExt cx="2208311" cy="324000"/>
            </a:xfrm>
          </p:grpSpPr>
          <p:sp>
            <p:nvSpPr>
              <p:cNvPr id="79" name="Rectangle 78"/>
              <p:cNvSpPr/>
              <p:nvPr/>
            </p:nvSpPr>
            <p:spPr>
              <a:xfrm>
                <a:off x="5950507" y="5647235"/>
                <a:ext cx="1923687" cy="225097"/>
              </a:xfrm>
              <a:prstGeom prst="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78671" tIns="25400" rIns="25400" bIns="25400" numCol="1" spcCol="1270" anchor="ctr" anchorCtr="0">
                <a:noAutofit/>
              </a:bodyPr>
              <a:lstStyle/>
              <a:p>
                <a:pPr defTabSz="444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bg-BG" sz="1000" b="1" dirty="0">
                    <a:solidFill>
                      <a:srgbClr val="FF0000"/>
                    </a:solidFill>
                  </a:rPr>
                  <a:t>Ниво на </a:t>
                </a:r>
                <a:r>
                  <a:rPr lang="bg-BG" sz="1000" b="1" dirty="0" smtClean="0">
                    <a:solidFill>
                      <a:srgbClr val="FF0000"/>
                    </a:solidFill>
                  </a:rPr>
                  <a:t>обезпечение</a:t>
                </a:r>
                <a:r>
                  <a:rPr lang="en-US" sz="1000" b="1" kern="1200" baseline="30000" dirty="0" smtClean="0">
                    <a:solidFill>
                      <a:srgbClr val="FF0000"/>
                    </a:solidFill>
                  </a:rPr>
                  <a:t>1</a:t>
                </a:r>
                <a:endParaRPr lang="en-GB" sz="1000" b="1" kern="1200" baseline="30000" dirty="0">
                  <a:solidFill>
                    <a:srgbClr val="FF0000"/>
                  </a:solidFill>
                </a:endParaRPr>
              </a:p>
            </p:txBody>
          </p:sp>
          <p:sp>
            <p:nvSpPr>
              <p:cNvPr id="66" name="Oval 65"/>
              <p:cNvSpPr/>
              <p:nvPr/>
            </p:nvSpPr>
            <p:spPr>
              <a:xfrm>
                <a:off x="5665883" y="5597783"/>
                <a:ext cx="324000" cy="32400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>
                <a:noAutofit/>
              </a:bodyPr>
              <a:lstStyle/>
              <a:p>
                <a:pPr algn="ctr"/>
                <a:r>
                  <a:rPr lang="en-US" sz="1000" b="1" dirty="0" smtClean="0">
                    <a:solidFill>
                      <a:srgbClr val="FF0000"/>
                    </a:solidFill>
                  </a:rPr>
                  <a:t>25%</a:t>
                </a:r>
                <a:endParaRPr lang="en-GB" sz="1000" b="1" dirty="0">
                  <a:solidFill>
                    <a:srgbClr val="FF0000"/>
                  </a:solidFill>
                </a:endParaRPr>
              </a:p>
            </p:txBody>
          </p:sp>
        </p:grpSp>
        <p:grpSp>
          <p:nvGrpSpPr>
            <p:cNvPr id="84" name="Group 83"/>
            <p:cNvGrpSpPr/>
            <p:nvPr/>
          </p:nvGrpSpPr>
          <p:grpSpPr>
            <a:xfrm>
              <a:off x="5216500" y="4775247"/>
              <a:ext cx="2434802" cy="324000"/>
              <a:chOff x="5468413" y="4907099"/>
              <a:chExt cx="2434802" cy="324000"/>
            </a:xfrm>
          </p:grpSpPr>
          <p:sp>
            <p:nvSpPr>
              <p:cNvPr id="73" name="Rectangle 72"/>
              <p:cNvSpPr/>
              <p:nvPr/>
            </p:nvSpPr>
            <p:spPr>
              <a:xfrm>
                <a:off x="5978298" y="4956551"/>
                <a:ext cx="1924917" cy="225097"/>
              </a:xfrm>
              <a:prstGeom prst="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78671" tIns="25400" rIns="25400" bIns="25400" numCol="1" spcCol="1270" anchor="ctr" anchorCtr="0">
                <a:noAutofit/>
              </a:bodyPr>
              <a:lstStyle/>
              <a:p>
                <a:pPr defTabSz="444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bg-BG" sz="1000" dirty="0">
                    <a:solidFill>
                      <a:prstClr val="black">
                        <a:hueOff val="0"/>
                        <a:satOff val="0"/>
                        <a:lumOff val="0"/>
                        <a:alphaOff val="0"/>
                      </a:prstClr>
                    </a:solidFill>
                  </a:rPr>
                  <a:t>Подкрепени МСП</a:t>
                </a:r>
                <a:endParaRPr lang="en-GB" sz="1000" dirty="0"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</a:endParaRPr>
              </a:p>
            </p:txBody>
          </p:sp>
          <p:sp>
            <p:nvSpPr>
              <p:cNvPr id="65" name="Oval 64"/>
              <p:cNvSpPr/>
              <p:nvPr/>
            </p:nvSpPr>
            <p:spPr>
              <a:xfrm>
                <a:off x="5468413" y="4907099"/>
                <a:ext cx="541140" cy="32400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>
                <a:noAutofit/>
              </a:bodyPr>
              <a:lstStyle/>
              <a:p>
                <a:pPr algn="ctr"/>
                <a:r>
                  <a:rPr lang="en-US" sz="1000" b="1" dirty="0" smtClean="0">
                    <a:solidFill>
                      <a:schemeClr val="tx1"/>
                    </a:solidFill>
                  </a:rPr>
                  <a:t>1 382</a:t>
                </a:r>
                <a:endParaRPr lang="en-GB" sz="1000" b="1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93" name="TextBox 92"/>
          <p:cNvSpPr txBox="1"/>
          <p:nvPr/>
        </p:nvSpPr>
        <p:spPr>
          <a:xfrm>
            <a:off x="168107" y="6309320"/>
            <a:ext cx="606007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aseline="30000" dirty="0" smtClean="0"/>
              <a:t>1</a:t>
            </a:r>
            <a:r>
              <a:rPr lang="bg-BG" sz="800" baseline="30000" dirty="0" smtClean="0"/>
              <a:t> </a:t>
            </a:r>
            <a:r>
              <a:rPr lang="bg-BG" sz="800" i="1" dirty="0" smtClean="0"/>
              <a:t>Не всички банки отчитат ниво на обезпечение за </a:t>
            </a:r>
            <a:r>
              <a:rPr lang="en-US" sz="800" i="1" dirty="0" smtClean="0"/>
              <a:t> </a:t>
            </a:r>
            <a:r>
              <a:rPr lang="bg-BG" sz="800" i="1" dirty="0" smtClean="0"/>
              <a:t>първото тримесечие на </a:t>
            </a:r>
            <a:r>
              <a:rPr lang="en-US" sz="800" i="1" dirty="0" smtClean="0"/>
              <a:t>2017</a:t>
            </a:r>
          </a:p>
          <a:p>
            <a:r>
              <a:rPr lang="en-US" sz="800" baseline="30000" dirty="0" smtClean="0"/>
              <a:t>2</a:t>
            </a:r>
            <a:r>
              <a:rPr lang="bg-BG" sz="800" i="1" dirty="0" smtClean="0"/>
              <a:t>Стойността на главницата е използвана за калкулация на средно претеглената стойност на лихвата</a:t>
            </a:r>
            <a:endParaRPr lang="en-US" sz="800" i="1" dirty="0" smtClean="0"/>
          </a:p>
          <a:p>
            <a:r>
              <a:rPr lang="en-US" sz="800" baseline="30000" dirty="0" smtClean="0"/>
              <a:t>3</a:t>
            </a:r>
            <a:r>
              <a:rPr lang="bg-BG" sz="800" i="1" dirty="0" smtClean="0"/>
              <a:t>БНБ данни</a:t>
            </a:r>
            <a:r>
              <a:rPr lang="en-US" sz="800" i="1" dirty="0" smtClean="0"/>
              <a:t>, </a:t>
            </a:r>
            <a:r>
              <a:rPr lang="bg-BG" sz="800" i="1" dirty="0" smtClean="0"/>
              <a:t>Август </a:t>
            </a:r>
            <a:r>
              <a:rPr lang="en-US" sz="800" i="1" dirty="0" smtClean="0"/>
              <a:t>2017, </a:t>
            </a:r>
            <a:r>
              <a:rPr lang="ru-RU" sz="800" i="1" dirty="0"/>
              <a:t>Лихвени проценти и обеми на нов бизнес по заеми за нефинансови </a:t>
            </a:r>
            <a:r>
              <a:rPr lang="ru-RU" sz="800" i="1" dirty="0" smtClean="0"/>
              <a:t>предприятия</a:t>
            </a:r>
            <a:endParaRPr lang="en-GB" sz="800" i="1" dirty="0"/>
          </a:p>
        </p:txBody>
      </p:sp>
      <p:sp>
        <p:nvSpPr>
          <p:cNvPr id="100" name="TextBox 99"/>
          <p:cNvSpPr txBox="1"/>
          <p:nvPr/>
        </p:nvSpPr>
        <p:spPr>
          <a:xfrm>
            <a:off x="643811" y="4203846"/>
            <a:ext cx="8258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bg-BG" sz="1200" i="1" dirty="0">
                <a:solidFill>
                  <a:prstClr val="black"/>
                </a:solidFill>
              </a:rPr>
              <a:t>Напредък</a:t>
            </a:r>
            <a:endParaRPr lang="en-GB" sz="1200" i="1" dirty="0"/>
          </a:p>
        </p:txBody>
      </p:sp>
      <p:sp>
        <p:nvSpPr>
          <p:cNvPr id="101" name="TextBox 100"/>
          <p:cNvSpPr txBox="1"/>
          <p:nvPr/>
        </p:nvSpPr>
        <p:spPr>
          <a:xfrm>
            <a:off x="598864" y="1423807"/>
            <a:ext cx="80996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bg-BG" sz="1200" i="1" dirty="0">
                <a:solidFill>
                  <a:prstClr val="black"/>
                </a:solidFill>
              </a:rPr>
              <a:t>Акценти</a:t>
            </a:r>
            <a:endParaRPr lang="en-GB" sz="1200" i="1" dirty="0"/>
          </a:p>
        </p:txBody>
      </p:sp>
      <p:sp>
        <p:nvSpPr>
          <p:cNvPr id="74" name="Rectangle 73"/>
          <p:cNvSpPr/>
          <p:nvPr/>
        </p:nvSpPr>
        <p:spPr>
          <a:xfrm>
            <a:off x="760840" y="3564782"/>
            <a:ext cx="2063947" cy="368274"/>
          </a:xfrm>
          <a:prstGeom prst="rect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78671" tIns="25400" rIns="25400" bIns="25400" numCol="1" spcCol="1270" anchor="ctr" anchorCtr="0">
            <a:noAutofit/>
          </a:bodyPr>
          <a:lstStyle/>
          <a:p>
            <a:pPr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bg-BG" sz="10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rPr>
              <a:t>Пазарна лихва за заеми  в лв. до 1 млн. евро с падеж </a:t>
            </a:r>
            <a:r>
              <a:rPr lang="en-US" sz="10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rPr>
              <a:t>&gt;1</a:t>
            </a:r>
            <a:r>
              <a:rPr lang="bg-BG" sz="10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rPr>
              <a:t>г.</a:t>
            </a:r>
            <a:r>
              <a:rPr lang="en-US" sz="10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rPr>
              <a:t> </a:t>
            </a:r>
            <a:r>
              <a:rPr lang="bg-BG" sz="10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rPr>
              <a:t>И </a:t>
            </a:r>
            <a:r>
              <a:rPr lang="en-US" sz="10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rPr>
              <a:t>&lt;5</a:t>
            </a:r>
            <a:r>
              <a:rPr lang="bg-BG" sz="1000" dirty="0" smtClean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rPr>
              <a:t>г.</a:t>
            </a:r>
            <a:r>
              <a:rPr lang="en-US" sz="1000" kern="1200" baseline="30000" dirty="0" smtClean="0"/>
              <a:t>3</a:t>
            </a:r>
            <a:endParaRPr lang="en-GB" sz="1000" kern="1200" baseline="30000" dirty="0"/>
          </a:p>
        </p:txBody>
      </p:sp>
      <p:sp>
        <p:nvSpPr>
          <p:cNvPr id="75" name="Oval 74"/>
          <p:cNvSpPr/>
          <p:nvPr/>
        </p:nvSpPr>
        <p:spPr>
          <a:xfrm>
            <a:off x="465565" y="3540056"/>
            <a:ext cx="324000" cy="3240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en-US" sz="900" b="1" dirty="0" smtClean="0">
                <a:solidFill>
                  <a:schemeClr val="tx1"/>
                </a:solidFill>
              </a:rPr>
              <a:t>5.2%</a:t>
            </a:r>
            <a:endParaRPr lang="en-GB" sz="900" b="1" dirty="0">
              <a:solidFill>
                <a:schemeClr val="tx1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5947485" y="3181046"/>
            <a:ext cx="1026243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bg-BG" sz="1000" b="1" dirty="0">
                <a:solidFill>
                  <a:prstClr val="white"/>
                </a:solidFill>
              </a:rPr>
              <a:t>Преработваща</a:t>
            </a:r>
          </a:p>
          <a:p>
            <a:r>
              <a:rPr lang="bg-BG" sz="1000" b="1" dirty="0">
                <a:solidFill>
                  <a:prstClr val="white"/>
                </a:solidFill>
              </a:rPr>
              <a:t>промишленост</a:t>
            </a:r>
            <a:endParaRPr lang="en-GB" sz="1000" b="1" dirty="0">
              <a:solidFill>
                <a:prstClr val="white"/>
              </a:solidFill>
            </a:endParaRPr>
          </a:p>
          <a:p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106" name="Line Callout 2 105"/>
          <p:cNvSpPr/>
          <p:nvPr/>
        </p:nvSpPr>
        <p:spPr>
          <a:xfrm>
            <a:off x="3460378" y="5129720"/>
            <a:ext cx="2333205" cy="315506"/>
          </a:xfrm>
          <a:prstGeom prst="borderCallout2">
            <a:avLst>
              <a:gd name="adj1" fmla="val 18750"/>
              <a:gd name="adj2" fmla="val 240"/>
              <a:gd name="adj3" fmla="val 18750"/>
              <a:gd name="adj4" fmla="val -16667"/>
              <a:gd name="adj5" fmla="val -136479"/>
              <a:gd name="adj6" fmla="val -16655"/>
            </a:avLst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000" dirty="0" smtClean="0">
                <a:solidFill>
                  <a:schemeClr val="tx1"/>
                </a:solidFill>
              </a:rPr>
              <a:t> </a:t>
            </a:r>
            <a:r>
              <a:rPr lang="bg-BG" sz="1000" dirty="0" smtClean="0">
                <a:solidFill>
                  <a:schemeClr val="tx1"/>
                </a:solidFill>
              </a:rPr>
              <a:t>       Февруари</a:t>
            </a:r>
            <a:r>
              <a:rPr lang="en-US" sz="1000" dirty="0" smtClean="0">
                <a:solidFill>
                  <a:schemeClr val="tx1"/>
                </a:solidFill>
              </a:rPr>
              <a:t>, 2017: </a:t>
            </a:r>
            <a:r>
              <a:rPr lang="bg-BG" sz="1000" dirty="0" smtClean="0">
                <a:solidFill>
                  <a:schemeClr val="tx1"/>
                </a:solidFill>
              </a:rPr>
              <a:t>Всички 10 банки</a:t>
            </a:r>
          </a:p>
          <a:p>
            <a:pPr algn="ctr"/>
            <a:r>
              <a:rPr lang="bg-BG" sz="1000" dirty="0" smtClean="0">
                <a:solidFill>
                  <a:schemeClr val="tx1"/>
                </a:solidFill>
              </a:rPr>
              <a:t>започват отдаването</a:t>
            </a:r>
            <a:endParaRPr lang="en-GB" sz="1000" dirty="0">
              <a:solidFill>
                <a:schemeClr val="tx1"/>
              </a:solidFill>
            </a:endParaRPr>
          </a:p>
        </p:txBody>
      </p:sp>
      <p:cxnSp>
        <p:nvCxnSpPr>
          <p:cNvPr id="107" name="Straight Connector 106"/>
          <p:cNvCxnSpPr/>
          <p:nvPr/>
        </p:nvCxnSpPr>
        <p:spPr>
          <a:xfrm flipV="1">
            <a:off x="2739714" y="4437112"/>
            <a:ext cx="0" cy="600285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8" name="Chart 10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28093581"/>
              </p:ext>
            </p:extLst>
          </p:nvPr>
        </p:nvGraphicFramePr>
        <p:xfrm>
          <a:off x="2889571" y="1256664"/>
          <a:ext cx="2095799" cy="16867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9" name="Chart 10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51686228"/>
              </p:ext>
            </p:extLst>
          </p:nvPr>
        </p:nvGraphicFramePr>
        <p:xfrm>
          <a:off x="2459206" y="2788875"/>
          <a:ext cx="3521001" cy="22485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1" name="Chart 1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39962668"/>
              </p:ext>
            </p:extLst>
          </p:nvPr>
        </p:nvGraphicFramePr>
        <p:xfrm>
          <a:off x="3963983" y="1557345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112" name="Straight Connector 111"/>
          <p:cNvCxnSpPr/>
          <p:nvPr/>
        </p:nvCxnSpPr>
        <p:spPr>
          <a:xfrm flipV="1">
            <a:off x="4482960" y="4437112"/>
            <a:ext cx="0" cy="600285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6186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4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80" y="1579515"/>
            <a:ext cx="8640960" cy="5049438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  <a:solidFill>
            <a:sysClr val="window" lastClr="FFFFFF"/>
          </a:solidFill>
        </p:spPr>
        <p:txBody>
          <a:bodyPr/>
          <a:lstStyle/>
          <a:p>
            <a:fld id="{1BFBAB30-7D6C-482F-9445-DA24C961621B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46" name="Rectangle 2"/>
          <p:cNvSpPr txBox="1">
            <a:spLocks noChangeArrowheads="1"/>
          </p:cNvSpPr>
          <p:nvPr/>
        </p:nvSpPr>
        <p:spPr>
          <a:xfrm>
            <a:off x="539552" y="332656"/>
            <a:ext cx="8136903" cy="754053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320040" indent="-320040" algn="ctr">
              <a:buClr>
                <a:schemeClr val="accent6">
                  <a:lumMod val="75000"/>
                </a:schemeClr>
              </a:buClr>
              <a:buSzPct val="128000"/>
            </a:pPr>
            <a:r>
              <a:rPr lang="bg-BG" sz="2500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cs typeface="+mj-cs"/>
              </a:rPr>
              <a:t>Напредък в изпълнението</a:t>
            </a:r>
            <a:endParaRPr lang="en-US" sz="2500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+mj-lt"/>
              <a:cs typeface="+mj-cs"/>
            </a:endParaRPr>
          </a:p>
          <a:p>
            <a:pPr algn="ctr"/>
            <a:r>
              <a:rPr lang="bg-BG" sz="1800" dirty="0" smtClean="0">
                <a:solidFill>
                  <a:schemeClr val="bg1">
                    <a:lumMod val="50000"/>
                  </a:schemeClr>
                </a:solidFill>
              </a:rPr>
              <a:t>Регионални данни</a:t>
            </a: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</a:rPr>
              <a:t> – NUTS 2 </a:t>
            </a:r>
            <a:r>
              <a:rPr lang="bg-BG" sz="1800" dirty="0" smtClean="0">
                <a:solidFill>
                  <a:schemeClr val="bg1">
                    <a:lumMod val="50000"/>
                  </a:schemeClr>
                </a:solidFill>
              </a:rPr>
              <a:t>към </a:t>
            </a: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</a:rPr>
              <a:t>30</a:t>
            </a:r>
            <a:r>
              <a:rPr lang="bg-BG" sz="1800" dirty="0" smtClean="0">
                <a:solidFill>
                  <a:schemeClr val="bg1">
                    <a:lumMod val="50000"/>
                  </a:schemeClr>
                </a:solidFill>
              </a:rPr>
              <a:t>.</a:t>
            </a: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</a:rPr>
              <a:t>06</a:t>
            </a:r>
            <a:r>
              <a:rPr lang="bg-BG" sz="1800" dirty="0" smtClean="0">
                <a:solidFill>
                  <a:schemeClr val="bg1">
                    <a:lumMod val="50000"/>
                  </a:schemeClr>
                </a:solidFill>
              </a:rPr>
              <a:t>.</a:t>
            </a: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</a:rPr>
              <a:t>2017 </a:t>
            </a:r>
            <a:r>
              <a:rPr lang="bg-BG" sz="1800" dirty="0" smtClean="0">
                <a:solidFill>
                  <a:schemeClr val="bg1">
                    <a:lumMod val="50000"/>
                  </a:schemeClr>
                </a:solidFill>
              </a:rPr>
              <a:t>г.</a:t>
            </a:r>
            <a:endParaRPr lang="en-GB" sz="1800" dirty="0">
              <a:solidFill>
                <a:schemeClr val="bg1">
                  <a:lumMod val="50000"/>
                </a:schemeClr>
              </a:solidFill>
            </a:endParaRPr>
          </a:p>
        </p:txBody>
      </p:sp>
      <p:graphicFrame>
        <p:nvGraphicFramePr>
          <p:cNvPr id="39" name="Chart 3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30859976"/>
              </p:ext>
            </p:extLst>
          </p:nvPr>
        </p:nvGraphicFramePr>
        <p:xfrm>
          <a:off x="-684584" y="1305773"/>
          <a:ext cx="4572000" cy="273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41" name="Chart 4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72169089"/>
              </p:ext>
            </p:extLst>
          </p:nvPr>
        </p:nvGraphicFramePr>
        <p:xfrm>
          <a:off x="1835696" y="1539090"/>
          <a:ext cx="4572000" cy="26276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2" name="Oval 41"/>
          <p:cNvSpPr>
            <a:spLocks/>
          </p:cNvSpPr>
          <p:nvPr/>
        </p:nvSpPr>
        <p:spPr>
          <a:xfrm>
            <a:off x="3866853" y="2780928"/>
            <a:ext cx="576051" cy="432788"/>
          </a:xfrm>
          <a:prstGeom prst="ellipse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 dirty="0" smtClean="0">
                <a:solidFill>
                  <a:srgbClr val="00B050"/>
                </a:solidFill>
              </a:rPr>
              <a:t>EUR </a:t>
            </a:r>
            <a:r>
              <a:rPr lang="bg-BG" sz="1000" b="1" dirty="0" smtClean="0">
                <a:solidFill>
                  <a:srgbClr val="00B050"/>
                </a:solidFill>
              </a:rPr>
              <a:t>11,4 </a:t>
            </a:r>
            <a:r>
              <a:rPr lang="en-US" sz="1000" b="1" dirty="0" smtClean="0">
                <a:solidFill>
                  <a:srgbClr val="00B050"/>
                </a:solidFill>
              </a:rPr>
              <a:t>m</a:t>
            </a:r>
            <a:endParaRPr lang="en-US" sz="1000" b="1" dirty="0">
              <a:solidFill>
                <a:srgbClr val="00B050"/>
              </a:solidFill>
            </a:endParaRPr>
          </a:p>
        </p:txBody>
      </p:sp>
      <p:graphicFrame>
        <p:nvGraphicFramePr>
          <p:cNvPr id="44" name="Chart 4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06410338"/>
              </p:ext>
            </p:extLst>
          </p:nvPr>
        </p:nvGraphicFramePr>
        <p:xfrm>
          <a:off x="4860032" y="1579515"/>
          <a:ext cx="4572000" cy="259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63367134"/>
              </p:ext>
            </p:extLst>
          </p:nvPr>
        </p:nvGraphicFramePr>
        <p:xfrm>
          <a:off x="-981657" y="3645024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Oval 9"/>
          <p:cNvSpPr>
            <a:spLocks/>
          </p:cNvSpPr>
          <p:nvPr/>
        </p:nvSpPr>
        <p:spPr>
          <a:xfrm>
            <a:off x="1025113" y="4941168"/>
            <a:ext cx="576072" cy="432792"/>
          </a:xfrm>
          <a:prstGeom prst="ellipse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>
            <a:sp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1" dirty="0" smtClean="0">
                <a:solidFill>
                  <a:srgbClr val="00B050"/>
                </a:solidFill>
              </a:rPr>
              <a:t>EUR </a:t>
            </a:r>
            <a:r>
              <a:rPr lang="bg-BG" sz="1000" b="1" dirty="0" smtClean="0">
                <a:solidFill>
                  <a:srgbClr val="00B050"/>
                </a:solidFill>
              </a:rPr>
              <a:t>72</a:t>
            </a:r>
            <a:r>
              <a:rPr lang="en-US" sz="1000" b="1" dirty="0" smtClean="0">
                <a:solidFill>
                  <a:srgbClr val="00B050"/>
                </a:solidFill>
              </a:rPr>
              <a:t>.</a:t>
            </a:r>
            <a:r>
              <a:rPr lang="bg-BG" sz="1000" b="1" dirty="0">
                <a:solidFill>
                  <a:srgbClr val="00B050"/>
                </a:solidFill>
              </a:rPr>
              <a:t>7</a:t>
            </a:r>
            <a:r>
              <a:rPr lang="bg-BG" sz="1000" b="1" dirty="0" smtClean="0">
                <a:solidFill>
                  <a:srgbClr val="00B050"/>
                </a:solidFill>
              </a:rPr>
              <a:t> </a:t>
            </a:r>
            <a:r>
              <a:rPr lang="en-US" sz="1000" b="1" dirty="0" smtClean="0">
                <a:solidFill>
                  <a:srgbClr val="00B050"/>
                </a:solidFill>
              </a:rPr>
              <a:t>m</a:t>
            </a:r>
            <a:endParaRPr lang="en-US" sz="1000" b="1" dirty="0">
              <a:solidFill>
                <a:srgbClr val="00B050"/>
              </a:solidFill>
            </a:endParaRPr>
          </a:p>
        </p:txBody>
      </p:sp>
      <p:graphicFrame>
        <p:nvGraphicFramePr>
          <p:cNvPr id="12" name="Chart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68897383"/>
              </p:ext>
            </p:extLst>
          </p:nvPr>
        </p:nvGraphicFramePr>
        <p:xfrm>
          <a:off x="1868878" y="3862511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3" name="Chart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02383634"/>
              </p:ext>
            </p:extLst>
          </p:nvPr>
        </p:nvGraphicFramePr>
        <p:xfrm>
          <a:off x="4644008" y="3645024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1267657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764704"/>
          </a:xfrm>
        </p:spPr>
        <p:txBody>
          <a:bodyPr/>
          <a:lstStyle/>
          <a:p>
            <a:pPr algn="ctr">
              <a:buNone/>
            </a:pPr>
            <a:r>
              <a:rPr lang="bg-BG" sz="2500" dirty="0" smtClean="0">
                <a:solidFill>
                  <a:srgbClr val="2F5897"/>
                </a:solidFill>
              </a:rPr>
              <a:t/>
            </a:r>
            <a:br>
              <a:rPr lang="bg-BG" sz="2500" dirty="0" smtClean="0">
                <a:solidFill>
                  <a:srgbClr val="2F5897"/>
                </a:solidFill>
              </a:rPr>
            </a:br>
            <a:r>
              <a:rPr lang="bg-BG" sz="2500" dirty="0" smtClean="0">
                <a:solidFill>
                  <a:srgbClr val="002060"/>
                </a:solidFill>
              </a:rPr>
              <a:t>Инициатива </a:t>
            </a:r>
            <a:r>
              <a:rPr lang="bg-BG" sz="2500" dirty="0">
                <a:solidFill>
                  <a:srgbClr val="002060"/>
                </a:solidFill>
              </a:rPr>
              <a:t>за МСП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848562746"/>
              </p:ext>
            </p:extLst>
          </p:nvPr>
        </p:nvGraphicFramePr>
        <p:xfrm>
          <a:off x="457200" y="1600200"/>
          <a:ext cx="8229600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644236" y="980728"/>
            <a:ext cx="8229600" cy="57606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ts val="58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bg-BG" sz="1600" b="1" dirty="0" smtClean="0">
                <a:solidFill>
                  <a:schemeClr val="accent3">
                    <a:lumMod val="50000"/>
                  </a:schemeClr>
                </a:solidFill>
              </a:rPr>
              <a:t>Договорени средства по посредници, </a:t>
            </a:r>
          </a:p>
          <a:p>
            <a:pPr>
              <a:lnSpc>
                <a:spcPct val="100000"/>
              </a:lnSpc>
            </a:pPr>
            <a:r>
              <a:rPr lang="bg-BG" sz="1600" b="1" dirty="0" smtClean="0">
                <a:solidFill>
                  <a:schemeClr val="accent3">
                    <a:lumMod val="50000"/>
                  </a:schemeClr>
                </a:solidFill>
              </a:rPr>
              <a:t>към 30.06.2017 г.</a:t>
            </a:r>
            <a:endParaRPr lang="bg-BG" sz="1600" dirty="0">
              <a:solidFill>
                <a:schemeClr val="accent3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9508264"/>
      </p:ext>
    </p:extLst>
  </p:cSld>
  <p:clrMapOvr>
    <a:masterClrMapping/>
  </p:clrMapOvr>
  <p:transition spd="med">
    <p:wip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16</a:t>
            </a:fld>
            <a:endParaRPr lang="bg-BG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7389440" cy="3474720"/>
          </a:xfrm>
        </p:spPr>
        <p:txBody>
          <a:bodyPr>
            <a:normAutofit/>
          </a:bodyPr>
          <a:lstStyle/>
          <a:p>
            <a:pPr marL="45720" indent="0">
              <a:buNone/>
            </a:pPr>
            <a:endParaRPr lang="bg-BG" b="1" dirty="0" smtClean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45720" indent="0">
              <a:buNone/>
            </a:pPr>
            <a:endParaRPr lang="bg-BG" b="1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45720" indent="0">
              <a:buNone/>
            </a:pPr>
            <a:endParaRPr lang="bg-BG" b="1" dirty="0" smtClean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45720" indent="0" algn="ctr">
              <a:buNone/>
            </a:pPr>
            <a:r>
              <a:rPr lang="bg-BG" sz="32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Напредък </a:t>
            </a:r>
            <a:r>
              <a:rPr lang="bg-BG" sz="32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в изпълнението на </a:t>
            </a:r>
            <a:r>
              <a:rPr lang="bg-BG" sz="32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одхода ВОМР по ОПИК</a:t>
            </a:r>
            <a:endParaRPr lang="bg-BG" sz="3200" b="1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1008260"/>
      </p:ext>
    </p:extLst>
  </p:cSld>
  <p:clrMapOvr>
    <a:masterClrMapping/>
  </p:clrMapOvr>
  <p:transition spd="med">
    <p:dissolv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17</a:t>
            </a:fld>
            <a:endParaRPr lang="bg-BG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-108520" y="1"/>
            <a:ext cx="9001000" cy="6741368"/>
          </a:xfrm>
        </p:spPr>
        <p:txBody>
          <a:bodyPr>
            <a:normAutofit fontScale="47500" lnSpcReduction="20000"/>
          </a:bodyPr>
          <a:lstStyle/>
          <a:p>
            <a:pPr marL="502920" indent="0" algn="just">
              <a:lnSpc>
                <a:spcPct val="115000"/>
              </a:lnSpc>
              <a:spcAft>
                <a:spcPts val="0"/>
              </a:spcAft>
              <a:buNone/>
            </a:pPr>
            <a:endParaRPr lang="en-US" sz="2400" dirty="0" smtClean="0">
              <a:latin typeface="Times New Roman"/>
              <a:ea typeface="Calibri"/>
              <a:cs typeface="Times New Roman"/>
            </a:endParaRPr>
          </a:p>
          <a:p>
            <a:pPr marL="0" lvl="0" indent="0" algn="ctr">
              <a:lnSpc>
                <a:spcPct val="115000"/>
              </a:lnSpc>
              <a:spcAft>
                <a:spcPts val="1000"/>
              </a:spcAft>
              <a:buClr>
                <a:srgbClr val="F14124">
                  <a:lumMod val="75000"/>
                </a:srgbClr>
              </a:buClr>
              <a:buNone/>
            </a:pPr>
            <a:endParaRPr lang="ru-RU" sz="4400" b="1" dirty="0" smtClean="0">
              <a:solidFill>
                <a:schemeClr val="accent1">
                  <a:lumMod val="75000"/>
                </a:schemeClr>
              </a:solidFill>
              <a:effectLst>
                <a:reflection blurRad="6350" stA="55000" endA="300" endPos="45500" dir="5400000" sy="-100000" algn="bl" rotWithShape="0"/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320040" lvl="0" indent="-320040" algn="ctr">
              <a:lnSpc>
                <a:spcPct val="115000"/>
              </a:lnSpc>
              <a:spcBef>
                <a:spcPct val="0"/>
              </a:spcBef>
              <a:spcAft>
                <a:spcPts val="1000"/>
              </a:spcAft>
              <a:buSzPct val="128000"/>
              <a:buNone/>
            </a:pPr>
            <a:r>
              <a:rPr lang="ru-RU" sz="53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Напредък</a:t>
            </a:r>
            <a:r>
              <a:rPr lang="ru-RU" sz="53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 в </a:t>
            </a:r>
            <a:r>
              <a:rPr lang="ru-RU" sz="53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изпълнението</a:t>
            </a:r>
            <a:r>
              <a:rPr lang="ru-RU" sz="53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 на </a:t>
            </a:r>
            <a:r>
              <a:rPr lang="bg-BG" sz="53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подхода ВОМР </a:t>
            </a:r>
          </a:p>
          <a:p>
            <a:pPr marL="0" lvl="0" indent="0" algn="ctr">
              <a:lnSpc>
                <a:spcPct val="115000"/>
              </a:lnSpc>
              <a:spcAft>
                <a:spcPts val="1000"/>
              </a:spcAft>
              <a:buClr>
                <a:srgbClr val="F14124">
                  <a:lumMod val="75000"/>
                </a:srgbClr>
              </a:buClr>
              <a:buNone/>
            </a:pPr>
            <a:endParaRPr lang="en-US" sz="4400" b="1" dirty="0" smtClean="0">
              <a:solidFill>
                <a:schemeClr val="accent1">
                  <a:lumMod val="75000"/>
                </a:schemeClr>
              </a:solidFill>
              <a:effectLst>
                <a:reflection blurRad="6350" stA="55000" endA="300" endPos="45500" dir="5400000" sy="-100000" algn="bl" rotWithShape="0"/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1074420" indent="-571500" algn="just">
              <a:lnSpc>
                <a:spcPct val="115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bg-BG" sz="3600" b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Обявена </a:t>
            </a:r>
            <a:r>
              <a:rPr lang="bg-BG" sz="36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е втора п</a:t>
            </a:r>
            <a:r>
              <a:rPr lang="en-US" sz="3600" b="1" dirty="0" err="1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роцедура</a:t>
            </a:r>
            <a:r>
              <a:rPr lang="en-US" sz="36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600" b="1" dirty="0" err="1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за</a:t>
            </a:r>
            <a:r>
              <a:rPr lang="en-US" sz="36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600" b="1" dirty="0" err="1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подбор</a:t>
            </a:r>
            <a:r>
              <a:rPr lang="en-US" sz="36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600" b="1" dirty="0" err="1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на</a:t>
            </a:r>
            <a:r>
              <a:rPr lang="en-US" sz="36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600" b="1" dirty="0" err="1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стратегии</a:t>
            </a:r>
            <a:r>
              <a:rPr lang="en-US" sz="36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600" b="1" dirty="0" err="1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за</a:t>
            </a:r>
            <a:r>
              <a:rPr lang="en-US" sz="36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ВОМР и </a:t>
            </a:r>
            <a:r>
              <a:rPr lang="bg-BG" sz="36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М</a:t>
            </a:r>
            <a:r>
              <a:rPr lang="en-US" sz="3600" b="1" dirty="0" err="1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естни</a:t>
            </a:r>
            <a:r>
              <a:rPr lang="en-US" sz="36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600" b="1" dirty="0" err="1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инициативни</a:t>
            </a:r>
            <a:r>
              <a:rPr lang="en-US" sz="36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600" b="1" dirty="0" err="1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групи</a:t>
            </a:r>
            <a:r>
              <a:rPr lang="en-US" sz="36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(МИГ) BG06RDNP001-19.001</a:t>
            </a:r>
            <a:r>
              <a:rPr lang="bg-BG" sz="36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по</a:t>
            </a:r>
            <a:r>
              <a:rPr lang="en-US" sz="36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600" b="1" dirty="0" err="1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Подмярка</a:t>
            </a:r>
            <a:r>
              <a:rPr lang="en-US" sz="36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19.2 </a:t>
            </a:r>
            <a:r>
              <a:rPr lang="en-US" sz="3600" b="1" dirty="0" err="1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на</a:t>
            </a:r>
            <a:r>
              <a:rPr lang="en-US" sz="36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600" b="1" dirty="0" err="1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мярка</a:t>
            </a:r>
            <a:r>
              <a:rPr lang="en-US" sz="36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19 „</a:t>
            </a:r>
            <a:r>
              <a:rPr lang="en-US" sz="3600" b="1" dirty="0" err="1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Водено</a:t>
            </a:r>
            <a:r>
              <a:rPr lang="en-US" sz="36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600" b="1" dirty="0" err="1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от</a:t>
            </a:r>
            <a:r>
              <a:rPr lang="en-US" sz="36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600" b="1" dirty="0" err="1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общностите</a:t>
            </a:r>
            <a:r>
              <a:rPr lang="en-US" sz="36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600" b="1" dirty="0" err="1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местно</a:t>
            </a:r>
            <a:r>
              <a:rPr lang="en-US" sz="36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600" b="1" dirty="0" err="1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развитие</a:t>
            </a:r>
            <a:r>
              <a:rPr lang="en-US" sz="36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” (ВОМР) </a:t>
            </a:r>
            <a:r>
              <a:rPr lang="en-US" sz="3600" b="1" dirty="0" err="1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от</a:t>
            </a:r>
            <a:r>
              <a:rPr lang="en-US" sz="36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600" b="1" dirty="0" err="1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Програмата</a:t>
            </a:r>
            <a:r>
              <a:rPr lang="en-US" sz="36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600" b="1" dirty="0" err="1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за</a:t>
            </a:r>
            <a:r>
              <a:rPr lang="en-US" sz="36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600" b="1" dirty="0" err="1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развитие</a:t>
            </a:r>
            <a:r>
              <a:rPr lang="en-US" sz="36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600" b="1" dirty="0" err="1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на</a:t>
            </a:r>
            <a:r>
              <a:rPr lang="en-US" sz="36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600" b="1" dirty="0" err="1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селските</a:t>
            </a:r>
            <a:r>
              <a:rPr lang="en-US" sz="36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3600" b="1" dirty="0" err="1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райони</a:t>
            </a:r>
            <a:r>
              <a:rPr lang="en-US" sz="36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2014-2020 г. </a:t>
            </a:r>
            <a:endParaRPr lang="bg-BG" sz="3600" b="1" dirty="0">
              <a:solidFill>
                <a:srgbClr val="00206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074420" indent="-571500" algn="just">
              <a:lnSpc>
                <a:spcPct val="115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bg-BG" sz="3600" b="1" dirty="0">
              <a:solidFill>
                <a:srgbClr val="00206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074420" indent="-571500" algn="just">
              <a:lnSpc>
                <a:spcPct val="115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bg-BG" sz="3600" b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Общият </a:t>
            </a:r>
            <a:r>
              <a:rPr lang="bg-BG" sz="36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бюджет по ОПИК </a:t>
            </a:r>
            <a:r>
              <a:rPr lang="bg-BG" sz="3600" b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е в </a:t>
            </a:r>
            <a:r>
              <a:rPr lang="bg-BG" sz="36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размер на левовата равностойност на </a:t>
            </a:r>
            <a:r>
              <a:rPr lang="bg-BG" sz="3600" b="1" u="sng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48 280 </a:t>
            </a:r>
            <a:r>
              <a:rPr lang="bg-BG" sz="3600" b="1" u="sng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560,90 евро</a:t>
            </a:r>
            <a:r>
              <a:rPr lang="bg-BG" sz="36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bg-BG" sz="3600" b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разпределен </a:t>
            </a:r>
            <a:r>
              <a:rPr lang="bg-BG" sz="36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както следва</a:t>
            </a:r>
            <a:r>
              <a:rPr lang="bg-BG" sz="3600" b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</a:p>
          <a:p>
            <a:pPr marL="1394460" lvl="1" indent="-571500" algn="just">
              <a:lnSpc>
                <a:spcPct val="115000"/>
              </a:lnSpc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bg-BG" sz="3600" b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по </a:t>
            </a:r>
            <a:r>
              <a:rPr lang="bg-BG" sz="36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приоритетна ос „Технологично развитие и иновации“ в размер на левовата равностойност на 16 956 230,39 евро; </a:t>
            </a:r>
            <a:endParaRPr lang="bg-BG" sz="3600" b="1" dirty="0" smtClean="0">
              <a:solidFill>
                <a:srgbClr val="00206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394460" lvl="1" indent="-571500" algn="just">
              <a:lnSpc>
                <a:spcPct val="115000"/>
              </a:lnSpc>
              <a:spcAft>
                <a:spcPts val="0"/>
              </a:spcAft>
              <a:buFont typeface="Courier New" panose="02070309020205020404" pitchFamily="49" charset="0"/>
              <a:buChar char="o"/>
            </a:pPr>
            <a:endParaRPr lang="bg-BG" sz="3600" b="1" dirty="0">
              <a:solidFill>
                <a:srgbClr val="00206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394460" lvl="1" indent="-571500" algn="just">
              <a:lnSpc>
                <a:spcPct val="115000"/>
              </a:lnSpc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bg-BG" sz="36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по приоритетна ос „Предприемачество и капацитет за растеж за малки и средни предприятия“ левовата равностойност на 31 324 330,51 евро</a:t>
            </a:r>
            <a:r>
              <a:rPr lang="bg-BG" sz="3600" b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en-US" sz="3600" b="1" dirty="0" smtClean="0">
              <a:solidFill>
                <a:srgbClr val="00206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502920" indent="0" algn="just">
              <a:lnSpc>
                <a:spcPct val="115000"/>
              </a:lnSpc>
              <a:spcAft>
                <a:spcPts val="0"/>
              </a:spcAft>
              <a:buNone/>
            </a:pPr>
            <a:endParaRPr lang="bg-BG" sz="3600" b="1" dirty="0" smtClean="0">
              <a:solidFill>
                <a:srgbClr val="00206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502920" indent="0" algn="just">
              <a:lnSpc>
                <a:spcPct val="115000"/>
              </a:lnSpc>
              <a:spcAft>
                <a:spcPts val="0"/>
              </a:spcAft>
              <a:buNone/>
            </a:pPr>
            <a:r>
              <a:rPr lang="bg-BG" sz="3600" b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Процедурата е в процес на оценка.</a:t>
            </a:r>
            <a:endParaRPr lang="bg-BG" sz="3600" b="1" dirty="0">
              <a:solidFill>
                <a:srgbClr val="00206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5720" indent="0">
              <a:buNone/>
            </a:pPr>
            <a:endParaRPr lang="bg-BG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19271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18</a:t>
            </a:fld>
            <a:endParaRPr lang="bg-BG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395536" y="908720"/>
            <a:ext cx="8352928" cy="5544616"/>
          </a:xfrm>
        </p:spPr>
        <p:txBody>
          <a:bodyPr>
            <a:normAutofit lnSpcReduction="10000"/>
          </a:bodyPr>
          <a:lstStyle/>
          <a:p>
            <a:pPr marL="342900" indent="-342900" algn="just">
              <a:lnSpc>
                <a:spcPct val="115000"/>
              </a:lnSpc>
              <a:spcAft>
                <a:spcPts val="1000"/>
              </a:spcAft>
              <a:buFont typeface="Wingdings" panose="05000000000000000000" pitchFamily="2" charset="2"/>
              <a:buChar char="q"/>
            </a:pPr>
            <a:endParaRPr lang="bg-BG" sz="1800" b="1" i="1" dirty="0" smtClean="0">
              <a:solidFill>
                <a:schemeClr val="accent1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indent="-342900" algn="just">
              <a:lnSpc>
                <a:spcPct val="17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bg-BG" sz="1500" b="1" dirty="0">
                <a:solidFill>
                  <a:srgbClr val="002060"/>
                </a:solidFill>
                <a:cs typeface="Tahoma" pitchFamily="34" charset="0"/>
              </a:rPr>
              <a:t>Изпълняват се 16 Споразумения, сключени с МИГ с  </a:t>
            </a:r>
            <a:r>
              <a:rPr lang="bg-BG" sz="1500" b="1" dirty="0" err="1">
                <a:solidFill>
                  <a:srgbClr val="002060"/>
                </a:solidFill>
                <a:cs typeface="Tahoma" pitchFamily="34" charset="0"/>
              </a:rPr>
              <a:t>многофондови</a:t>
            </a:r>
            <a:r>
              <a:rPr lang="bg-BG" sz="1500" b="1" dirty="0">
                <a:solidFill>
                  <a:srgbClr val="002060"/>
                </a:solidFill>
                <a:cs typeface="Tahoma" pitchFamily="34" charset="0"/>
              </a:rPr>
              <a:t> стратегии за местно развитие, с общ бюджет по ОПИК в размер на левовата равностойност на 15 226 234,39 EUR, който е разпределен както следва: </a:t>
            </a:r>
          </a:p>
          <a:p>
            <a:pPr marL="0" indent="0" algn="just">
              <a:lnSpc>
                <a:spcPct val="17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r>
              <a:rPr lang="bg-BG" sz="1500" b="1" dirty="0">
                <a:solidFill>
                  <a:srgbClr val="002060"/>
                </a:solidFill>
                <a:cs typeface="Tahoma" pitchFamily="34" charset="0"/>
              </a:rPr>
              <a:t> - по Приоритетна ос 1 "Технологично развитие и иновации" с общ бюджет 2 095 808,43 EUR;</a:t>
            </a:r>
          </a:p>
          <a:p>
            <a:pPr marL="0" indent="0" algn="just">
              <a:lnSpc>
                <a:spcPct val="17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r>
              <a:rPr lang="bg-BG" sz="1500" b="1" dirty="0">
                <a:solidFill>
                  <a:srgbClr val="002060"/>
                </a:solidFill>
                <a:cs typeface="Tahoma" pitchFamily="34" charset="0"/>
              </a:rPr>
              <a:t>- по Приоритетна ос 2 "Предприемачество и капацитет за растеж на МСП“ с общ бюджет 13 130 425,96 EUR. </a:t>
            </a:r>
          </a:p>
          <a:p>
            <a:pPr marL="285750" indent="-285750" algn="just">
              <a:lnSpc>
                <a:spcPct val="17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bg-BG" sz="1500" b="1" dirty="0">
                <a:solidFill>
                  <a:srgbClr val="002060"/>
                </a:solidFill>
                <a:cs typeface="Tahoma" pitchFamily="34" charset="0"/>
              </a:rPr>
              <a:t>В осем от стратегиите за местно развитие са идентифицирани</a:t>
            </a:r>
            <a:r>
              <a:rPr lang="ru-RU" sz="1500" b="1" dirty="0">
                <a:solidFill>
                  <a:srgbClr val="002060"/>
                </a:solidFill>
                <a:cs typeface="Tahoma" pitchFamily="34" charset="0"/>
              </a:rPr>
              <a:t> за </a:t>
            </a:r>
            <a:r>
              <a:rPr lang="ru-RU" sz="1500" b="1" dirty="0" err="1">
                <a:solidFill>
                  <a:srgbClr val="002060"/>
                </a:solidFill>
                <a:cs typeface="Tahoma" pitchFamily="34" charset="0"/>
              </a:rPr>
              <a:t>прилагане</a:t>
            </a:r>
            <a:r>
              <a:rPr lang="ru-RU" sz="1500" b="1" dirty="0">
                <a:solidFill>
                  <a:srgbClr val="002060"/>
                </a:solidFill>
                <a:cs typeface="Tahoma" pitchFamily="34" charset="0"/>
              </a:rPr>
              <a:t> мерки/операции по Приоритетна ос 1 „Технологично развитие и </a:t>
            </a:r>
            <a:r>
              <a:rPr lang="ru-RU" sz="1500" b="1" dirty="0" err="1">
                <a:solidFill>
                  <a:srgbClr val="002060"/>
                </a:solidFill>
                <a:cs typeface="Tahoma" pitchFamily="34" charset="0"/>
              </a:rPr>
              <a:t>иновации</a:t>
            </a:r>
            <a:r>
              <a:rPr lang="ru-RU" sz="1500" b="1" dirty="0">
                <a:solidFill>
                  <a:srgbClr val="002060"/>
                </a:solidFill>
                <a:cs typeface="Tahoma" pitchFamily="34" charset="0"/>
              </a:rPr>
              <a:t>“ и Приоритетна ос 2 „</a:t>
            </a:r>
            <a:r>
              <a:rPr lang="ru-RU" sz="1500" b="1" dirty="0" err="1">
                <a:solidFill>
                  <a:srgbClr val="002060"/>
                </a:solidFill>
                <a:cs typeface="Tahoma" pitchFamily="34" charset="0"/>
              </a:rPr>
              <a:t>Предприемачество</a:t>
            </a:r>
            <a:r>
              <a:rPr lang="ru-RU" sz="1500" b="1" dirty="0">
                <a:solidFill>
                  <a:srgbClr val="002060"/>
                </a:solidFill>
                <a:cs typeface="Tahoma" pitchFamily="34" charset="0"/>
              </a:rPr>
              <a:t> и </a:t>
            </a:r>
            <a:r>
              <a:rPr lang="ru-RU" sz="1500" b="1" dirty="0" err="1">
                <a:solidFill>
                  <a:srgbClr val="002060"/>
                </a:solidFill>
                <a:cs typeface="Tahoma" pitchFamily="34" charset="0"/>
              </a:rPr>
              <a:t>капацитет</a:t>
            </a:r>
            <a:r>
              <a:rPr lang="ru-RU" sz="1500" b="1" dirty="0">
                <a:solidFill>
                  <a:srgbClr val="002060"/>
                </a:solidFill>
                <a:cs typeface="Tahoma" pitchFamily="34" charset="0"/>
              </a:rPr>
              <a:t> за </a:t>
            </a:r>
            <a:r>
              <a:rPr lang="ru-RU" sz="1500" b="1" dirty="0" err="1">
                <a:solidFill>
                  <a:srgbClr val="002060"/>
                </a:solidFill>
                <a:cs typeface="Tahoma" pitchFamily="34" charset="0"/>
              </a:rPr>
              <a:t>растеж</a:t>
            </a:r>
            <a:r>
              <a:rPr lang="ru-RU" sz="1500" b="1" dirty="0">
                <a:solidFill>
                  <a:srgbClr val="002060"/>
                </a:solidFill>
                <a:cs typeface="Tahoma" pitchFamily="34" charset="0"/>
              </a:rPr>
              <a:t> на МСП“.</a:t>
            </a:r>
          </a:p>
          <a:p>
            <a:pPr marL="285750" indent="-285750" algn="just">
              <a:lnSpc>
                <a:spcPct val="17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ru-RU" sz="1500" b="1" dirty="0">
                <a:solidFill>
                  <a:srgbClr val="002060"/>
                </a:solidFill>
                <a:cs typeface="Tahoma" pitchFamily="34" charset="0"/>
              </a:rPr>
              <a:t>В </a:t>
            </a:r>
            <a:r>
              <a:rPr lang="ru-RU" sz="1500" b="1" dirty="0" err="1">
                <a:solidFill>
                  <a:srgbClr val="002060"/>
                </a:solidFill>
                <a:cs typeface="Tahoma" pitchFamily="34" charset="0"/>
              </a:rPr>
              <a:t>осем</a:t>
            </a:r>
            <a:r>
              <a:rPr lang="ru-RU" sz="1500" b="1" dirty="0">
                <a:solidFill>
                  <a:srgbClr val="002060"/>
                </a:solidFill>
                <a:cs typeface="Tahoma" pitchFamily="34" charset="0"/>
              </a:rPr>
              <a:t> от </a:t>
            </a:r>
            <a:r>
              <a:rPr lang="ru-RU" sz="1500" b="1" dirty="0" err="1">
                <a:solidFill>
                  <a:srgbClr val="002060"/>
                </a:solidFill>
                <a:cs typeface="Tahoma" pitchFamily="34" charset="0"/>
              </a:rPr>
              <a:t>стратегиите</a:t>
            </a:r>
            <a:r>
              <a:rPr lang="ru-RU" sz="1500" b="1" dirty="0">
                <a:solidFill>
                  <a:srgbClr val="002060"/>
                </a:solidFill>
                <a:cs typeface="Tahoma" pitchFamily="34" charset="0"/>
              </a:rPr>
              <a:t> за </a:t>
            </a:r>
            <a:r>
              <a:rPr lang="ru-RU" sz="1500" b="1" dirty="0" err="1">
                <a:solidFill>
                  <a:srgbClr val="002060"/>
                </a:solidFill>
                <a:cs typeface="Tahoma" pitchFamily="34" charset="0"/>
              </a:rPr>
              <a:t>местно</a:t>
            </a:r>
            <a:r>
              <a:rPr lang="ru-RU" sz="1500" b="1" dirty="0">
                <a:solidFill>
                  <a:srgbClr val="002060"/>
                </a:solidFill>
                <a:cs typeface="Tahoma" pitchFamily="34" charset="0"/>
              </a:rPr>
              <a:t> развитие </a:t>
            </a:r>
            <a:r>
              <a:rPr lang="ru-RU" sz="1500" b="1" dirty="0" err="1">
                <a:solidFill>
                  <a:srgbClr val="002060"/>
                </a:solidFill>
                <a:cs typeface="Tahoma" pitchFamily="34" charset="0"/>
              </a:rPr>
              <a:t>са</a:t>
            </a:r>
            <a:r>
              <a:rPr lang="ru-RU" sz="1500" b="1" dirty="0">
                <a:solidFill>
                  <a:srgbClr val="002060"/>
                </a:solidFill>
                <a:cs typeface="Tahoma" pitchFamily="34" charset="0"/>
              </a:rPr>
              <a:t> </a:t>
            </a:r>
            <a:r>
              <a:rPr lang="ru-RU" sz="1500" b="1" dirty="0" err="1">
                <a:solidFill>
                  <a:srgbClr val="002060"/>
                </a:solidFill>
                <a:cs typeface="Tahoma" pitchFamily="34" charset="0"/>
              </a:rPr>
              <a:t>идентифицирани</a:t>
            </a:r>
            <a:r>
              <a:rPr lang="ru-RU" sz="1500" b="1" dirty="0">
                <a:solidFill>
                  <a:srgbClr val="002060"/>
                </a:solidFill>
                <a:cs typeface="Tahoma" pitchFamily="34" charset="0"/>
              </a:rPr>
              <a:t> за </a:t>
            </a:r>
            <a:r>
              <a:rPr lang="ru-RU" sz="1500" b="1" dirty="0" err="1">
                <a:solidFill>
                  <a:srgbClr val="002060"/>
                </a:solidFill>
                <a:cs typeface="Tahoma" pitchFamily="34" charset="0"/>
              </a:rPr>
              <a:t>прилагане</a:t>
            </a:r>
            <a:r>
              <a:rPr lang="ru-RU" sz="1500" b="1" dirty="0">
                <a:solidFill>
                  <a:srgbClr val="002060"/>
                </a:solidFill>
                <a:cs typeface="Tahoma" pitchFamily="34" charset="0"/>
              </a:rPr>
              <a:t> мерки/операции само по Приоритетна ос 2 „</a:t>
            </a:r>
            <a:r>
              <a:rPr lang="ru-RU" sz="1500" b="1" dirty="0" err="1">
                <a:solidFill>
                  <a:srgbClr val="002060"/>
                </a:solidFill>
                <a:cs typeface="Tahoma" pitchFamily="34" charset="0"/>
              </a:rPr>
              <a:t>Предприемачество</a:t>
            </a:r>
            <a:r>
              <a:rPr lang="ru-RU" sz="1500" b="1" dirty="0">
                <a:solidFill>
                  <a:srgbClr val="002060"/>
                </a:solidFill>
                <a:cs typeface="Tahoma" pitchFamily="34" charset="0"/>
              </a:rPr>
              <a:t> и </a:t>
            </a:r>
            <a:r>
              <a:rPr lang="ru-RU" sz="1500" b="1" dirty="0" err="1">
                <a:solidFill>
                  <a:srgbClr val="002060"/>
                </a:solidFill>
                <a:cs typeface="Tahoma" pitchFamily="34" charset="0"/>
              </a:rPr>
              <a:t>капацитет</a:t>
            </a:r>
            <a:r>
              <a:rPr lang="ru-RU" sz="1500" b="1" dirty="0">
                <a:solidFill>
                  <a:srgbClr val="002060"/>
                </a:solidFill>
                <a:cs typeface="Tahoma" pitchFamily="34" charset="0"/>
              </a:rPr>
              <a:t> за </a:t>
            </a:r>
            <a:r>
              <a:rPr lang="ru-RU" sz="1500" b="1" dirty="0" err="1">
                <a:solidFill>
                  <a:srgbClr val="002060"/>
                </a:solidFill>
                <a:cs typeface="Tahoma" pitchFamily="34" charset="0"/>
              </a:rPr>
              <a:t>растеж</a:t>
            </a:r>
            <a:r>
              <a:rPr lang="ru-RU" sz="1500" b="1" dirty="0">
                <a:solidFill>
                  <a:srgbClr val="002060"/>
                </a:solidFill>
                <a:cs typeface="Tahoma" pitchFamily="34" charset="0"/>
              </a:rPr>
              <a:t> на МСП“.</a:t>
            </a:r>
          </a:p>
          <a:p>
            <a:pPr marL="0" lvl="0" indent="0" algn="just">
              <a:lnSpc>
                <a:spcPct val="115000"/>
              </a:lnSpc>
              <a:spcAft>
                <a:spcPts val="1000"/>
              </a:spcAft>
              <a:buNone/>
            </a:pPr>
            <a:endParaRPr lang="bg-BG" sz="2000" dirty="0">
              <a:effectLst/>
              <a:latin typeface="Calibri"/>
              <a:ea typeface="Calibri"/>
              <a:cs typeface="Times New Roman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23528" y="332656"/>
            <a:ext cx="8640960" cy="4809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20040" lvl="0" indent="-320040" algn="ctr">
              <a:lnSpc>
                <a:spcPct val="115000"/>
              </a:lnSpc>
              <a:spcAft>
                <a:spcPts val="1000"/>
              </a:spcAft>
              <a:buSzPct val="128000"/>
            </a:pPr>
            <a:r>
              <a:rPr lang="ru-RU" sz="24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Напредък</a:t>
            </a:r>
            <a:r>
              <a:rPr lang="ru-RU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 в </a:t>
            </a:r>
            <a:r>
              <a:rPr lang="ru-RU" sz="24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изпълнението</a:t>
            </a:r>
            <a:r>
              <a:rPr lang="ru-RU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 на </a:t>
            </a:r>
            <a:r>
              <a:rPr lang="bg-BG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</a:rPr>
              <a:t>подхода ВОМР </a:t>
            </a:r>
          </a:p>
        </p:txBody>
      </p:sp>
    </p:spTree>
    <p:extLst>
      <p:ext uri="{BB962C8B-B14F-4D97-AF65-F5344CB8AC3E}">
        <p14:creationId xmlns:p14="http://schemas.microsoft.com/office/powerpoint/2010/main" val="9581926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Content Placeholder 2"/>
          <p:cNvSpPr>
            <a:spLocks noGrp="1"/>
          </p:cNvSpPr>
          <p:nvPr>
            <p:ph sz="quarter" idx="13"/>
          </p:nvPr>
        </p:nvSpPr>
        <p:spPr bwMode="auto">
          <a:xfrm>
            <a:off x="243955" y="116633"/>
            <a:ext cx="8720533" cy="640871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Wingdings" panose="05000000000000000000" pitchFamily="2" charset="2"/>
              <a:buChar char="Ø"/>
              <a:defRPr/>
            </a:pPr>
            <a:endParaRPr lang="ru-RU" sz="1500" dirty="0" smtClean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marL="320040" lvl="0" indent="-320040" algn="ctr">
              <a:lnSpc>
                <a:spcPct val="95000"/>
              </a:lnSpc>
              <a:spcBef>
                <a:spcPct val="0"/>
              </a:spcBef>
              <a:spcAft>
                <a:spcPts val="1000"/>
              </a:spcAft>
              <a:buSzPct val="128000"/>
              <a:buNone/>
              <a:defRPr/>
            </a:pPr>
            <a:r>
              <a:rPr lang="ru-RU" sz="24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Напредък</a:t>
            </a:r>
            <a:r>
              <a:rPr lang="ru-RU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 в </a:t>
            </a:r>
            <a:r>
              <a:rPr lang="ru-RU" sz="2400" b="1" dirty="0" err="1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изпълнението</a:t>
            </a:r>
            <a:r>
              <a:rPr lang="ru-RU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 на </a:t>
            </a:r>
            <a:r>
              <a:rPr lang="bg-BG" sz="24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подхода </a:t>
            </a:r>
            <a:r>
              <a:rPr lang="bg-BG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ВОМР</a:t>
            </a:r>
            <a:endParaRPr lang="ru-RU" sz="2400" b="1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+mj-lt"/>
              <a:ea typeface="+mj-ea"/>
              <a:cs typeface="+mj-cs"/>
            </a:endParaRPr>
          </a:p>
          <a:p>
            <a:pPr marL="180975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endParaRPr lang="bg-BG" sz="1200" b="1" i="1" dirty="0" smtClean="0">
              <a:solidFill>
                <a:schemeClr val="accent1">
                  <a:lumMod val="75000"/>
                </a:schemeClr>
              </a:solidFill>
              <a:latin typeface="Tahoma" pitchFamily="34" charset="0"/>
              <a:cs typeface="Tahoma" pitchFamily="34" charset="0"/>
            </a:endParaRP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bg-BG" sz="1400" b="1" dirty="0" smtClean="0">
                <a:solidFill>
                  <a:srgbClr val="002060"/>
                </a:solidFill>
                <a:cs typeface="Tahoma" pitchFamily="34" charset="0"/>
              </a:rPr>
              <a:t>Съгласуват</a:t>
            </a:r>
            <a:r>
              <a:rPr lang="ru-RU" sz="1400" b="1" dirty="0" smtClean="0">
                <a:solidFill>
                  <a:srgbClr val="002060"/>
                </a:solidFill>
                <a:cs typeface="Tahoma" pitchFamily="34" charset="0"/>
              </a:rPr>
              <a:t> се </a:t>
            </a:r>
            <a:r>
              <a:rPr lang="ru-RU" sz="1400" b="1" dirty="0" err="1" smtClean="0">
                <a:solidFill>
                  <a:srgbClr val="002060"/>
                </a:solidFill>
                <a:cs typeface="Tahoma" pitchFamily="34" charset="0"/>
              </a:rPr>
              <a:t>документите</a:t>
            </a:r>
            <a:r>
              <a:rPr lang="ru-RU" sz="1400" b="1" dirty="0" smtClean="0">
                <a:solidFill>
                  <a:srgbClr val="002060"/>
                </a:solidFill>
                <a:cs typeface="Tahoma" pitchFamily="34" charset="0"/>
              </a:rPr>
              <a:t> за </a:t>
            </a:r>
            <a:r>
              <a:rPr lang="ru-RU" sz="1400" b="1" dirty="0" err="1" smtClean="0">
                <a:solidFill>
                  <a:srgbClr val="002060"/>
                </a:solidFill>
                <a:cs typeface="Tahoma" pitchFamily="34" charset="0"/>
              </a:rPr>
              <a:t>обявяване</a:t>
            </a:r>
            <a:r>
              <a:rPr lang="ru-RU" sz="1400" b="1" dirty="0" smtClean="0">
                <a:solidFill>
                  <a:srgbClr val="002060"/>
                </a:solidFill>
                <a:cs typeface="Tahoma" pitchFamily="34" charset="0"/>
              </a:rPr>
              <a:t> на </a:t>
            </a:r>
            <a:r>
              <a:rPr lang="ru-RU" sz="1400" b="1" u="sng" dirty="0" err="1" smtClean="0">
                <a:solidFill>
                  <a:srgbClr val="002060"/>
                </a:solidFill>
                <a:cs typeface="Tahoma" pitchFamily="34" charset="0"/>
              </a:rPr>
              <a:t>процедури</a:t>
            </a:r>
            <a:r>
              <a:rPr lang="ru-RU" sz="1400" b="1" u="sng" dirty="0" smtClean="0">
                <a:solidFill>
                  <a:srgbClr val="002060"/>
                </a:solidFill>
                <a:cs typeface="Tahoma" pitchFamily="34" charset="0"/>
              </a:rPr>
              <a:t> </a:t>
            </a:r>
            <a:r>
              <a:rPr lang="ru-RU" sz="1400" b="1" dirty="0" smtClean="0">
                <a:solidFill>
                  <a:srgbClr val="002060"/>
                </a:solidFill>
                <a:cs typeface="Tahoma" pitchFamily="34" charset="0"/>
              </a:rPr>
              <a:t>за подбор на </a:t>
            </a:r>
            <a:r>
              <a:rPr lang="ru-RU" sz="1400" b="1" dirty="0" err="1" smtClean="0">
                <a:solidFill>
                  <a:srgbClr val="002060"/>
                </a:solidFill>
                <a:cs typeface="Tahoma" pitchFamily="34" charset="0"/>
              </a:rPr>
              <a:t>проекти</a:t>
            </a:r>
            <a:r>
              <a:rPr lang="ru-RU" sz="1400" b="1" dirty="0" smtClean="0">
                <a:solidFill>
                  <a:srgbClr val="002060"/>
                </a:solidFill>
                <a:cs typeface="Tahoma" pitchFamily="34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cs typeface="Tahoma" pitchFamily="34" charset="0"/>
              </a:rPr>
              <a:t>по </a:t>
            </a:r>
            <a:r>
              <a:rPr lang="bg-BG" sz="14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Приоритетна ос 2 "Предприемачество и капацитет за растеж на МСП</a:t>
            </a:r>
            <a:r>
              <a:rPr lang="bg-BG" sz="1400" b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“, </a:t>
            </a:r>
            <a:r>
              <a:rPr lang="bg-BG" sz="14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Инвестиционен приоритет </a:t>
            </a:r>
            <a:r>
              <a:rPr lang="ru-RU" sz="14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2.2. „</a:t>
            </a:r>
            <a:r>
              <a:rPr lang="ru-RU" sz="1400" b="1" dirty="0" err="1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Капацитет</a:t>
            </a:r>
            <a:r>
              <a:rPr lang="ru-RU" sz="14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за </a:t>
            </a:r>
            <a:r>
              <a:rPr lang="ru-RU" sz="1400" b="1" dirty="0" err="1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растеж</a:t>
            </a:r>
            <a:r>
              <a:rPr lang="ru-RU" sz="14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на МСП</a:t>
            </a:r>
            <a:r>
              <a:rPr lang="ru-RU" sz="1400" b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” </a:t>
            </a:r>
            <a:r>
              <a:rPr lang="ru-RU" sz="1400" b="1" dirty="0" smtClean="0">
                <a:solidFill>
                  <a:srgbClr val="002060"/>
                </a:solidFill>
                <a:cs typeface="Tahoma" pitchFamily="34" charset="0"/>
              </a:rPr>
              <a:t>в </a:t>
            </a:r>
            <a:r>
              <a:rPr lang="ru-RU" sz="1400" b="1" dirty="0" err="1" smtClean="0">
                <a:solidFill>
                  <a:srgbClr val="002060"/>
                </a:solidFill>
                <a:cs typeface="Tahoma" pitchFamily="34" charset="0"/>
              </a:rPr>
              <a:t>изпълнение</a:t>
            </a:r>
            <a:r>
              <a:rPr lang="ru-RU" sz="1400" b="1" dirty="0" smtClean="0">
                <a:solidFill>
                  <a:srgbClr val="002060"/>
                </a:solidFill>
                <a:cs typeface="Tahoma" pitchFamily="34" charset="0"/>
              </a:rPr>
              <a:t> на стратегии за </a:t>
            </a:r>
            <a:r>
              <a:rPr lang="ru-RU" sz="1400" b="1" dirty="0" err="1" smtClean="0">
                <a:solidFill>
                  <a:srgbClr val="002060"/>
                </a:solidFill>
                <a:cs typeface="Tahoma" pitchFamily="34" charset="0"/>
              </a:rPr>
              <a:t>местно</a:t>
            </a:r>
            <a:r>
              <a:rPr lang="ru-RU" sz="1400" b="1" dirty="0" smtClean="0">
                <a:solidFill>
                  <a:srgbClr val="002060"/>
                </a:solidFill>
                <a:cs typeface="Tahoma" pitchFamily="34" charset="0"/>
              </a:rPr>
              <a:t> развитие на:</a:t>
            </a:r>
          </a:p>
          <a:p>
            <a:pPr marL="180975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r>
              <a:rPr lang="ru-RU" sz="14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СДРУЖЕНИЕ "МИГ-ТРОЯН, АПРИЛЦИ, УГЪРЧИН"  - с бюджет 1 </a:t>
            </a:r>
            <a:r>
              <a:rPr lang="ru-RU" sz="1400" b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000 000 евро</a:t>
            </a:r>
            <a:r>
              <a:rPr lang="ru-RU" sz="14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	</a:t>
            </a:r>
          </a:p>
          <a:p>
            <a:pPr marL="180975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r>
              <a:rPr lang="ru-RU" sz="1400" b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СДРУЖЕНИЕ </a:t>
            </a:r>
            <a:r>
              <a:rPr lang="ru-RU" sz="14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„</a:t>
            </a:r>
            <a:r>
              <a:rPr lang="ru-RU" sz="1400" b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МИГ </a:t>
            </a:r>
            <a:r>
              <a:rPr lang="ru-RU" sz="14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– ОБЩИНА МАРИЦА“  - </a:t>
            </a:r>
            <a:r>
              <a:rPr lang="ru-RU" sz="1400" b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с бюджет  460 162 </a:t>
            </a:r>
            <a:r>
              <a:rPr lang="ru-RU" sz="14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евро</a:t>
            </a:r>
          </a:p>
          <a:p>
            <a:pPr marL="180975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r>
              <a:rPr lang="ru-RU" sz="1400" b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МИГ </a:t>
            </a:r>
            <a:r>
              <a:rPr lang="ru-RU" sz="14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"ПАНАГЮРИЩЕ, СТРЕЛЧА, ЛЕСИЧОВО"  - с бюджет  </a:t>
            </a:r>
            <a:r>
              <a:rPr lang="ru-RU" sz="1400" b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766 938 евро</a:t>
            </a:r>
            <a:endParaRPr lang="ru-RU" sz="1400" b="1" dirty="0">
              <a:solidFill>
                <a:srgbClr val="00206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80975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r>
              <a:rPr lang="ru-RU" sz="14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МИГ "КОСТЕНЕЦ 2010"  - </a:t>
            </a:r>
            <a:r>
              <a:rPr lang="ru-RU" sz="1400" b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с бюджет 100 </a:t>
            </a:r>
            <a:r>
              <a:rPr lang="ru-RU" sz="14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000 </a:t>
            </a:r>
            <a:r>
              <a:rPr lang="ru-RU" sz="1400" b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евро</a:t>
            </a:r>
          </a:p>
          <a:p>
            <a:pPr marL="180975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r>
              <a:rPr lang="ru-RU" sz="14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СНЦ „МЕСТНА ИНИЦИАТИВНА ГРУПА-АРДИНО-ДЖЕБЕЛ“ - с бюджет 511 </a:t>
            </a:r>
            <a:r>
              <a:rPr lang="ru-RU" sz="1400" b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291 евро</a:t>
            </a:r>
          </a:p>
          <a:p>
            <a:pPr marL="180975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r>
              <a:rPr lang="ru-RU" sz="14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СНЦ „МЕСТНА ИНИЦИАТИВНА </a:t>
            </a:r>
            <a:r>
              <a:rPr lang="ru-RU" sz="1400" b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ГРУПА-МОМЧИЛГРАД</a:t>
            </a:r>
            <a:r>
              <a:rPr lang="bg-BG" sz="1400" b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,</a:t>
            </a:r>
            <a:r>
              <a:rPr lang="ru-RU" sz="1400" b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КРУМОВГРАД “ </a:t>
            </a:r>
            <a:r>
              <a:rPr lang="ru-RU" sz="14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- с бюджет 511 291 </a:t>
            </a:r>
            <a:r>
              <a:rPr lang="ru-RU" sz="1400" b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евро</a:t>
            </a:r>
            <a:endParaRPr lang="ru-RU" sz="1400" b="1" dirty="0">
              <a:solidFill>
                <a:srgbClr val="00206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ru-RU" sz="1400" b="1" dirty="0" err="1" smtClean="0">
                <a:solidFill>
                  <a:srgbClr val="002060"/>
                </a:solidFill>
                <a:cs typeface="Tahoma" pitchFamily="34" charset="0"/>
              </a:rPr>
              <a:t>Очаква</a:t>
            </a:r>
            <a:r>
              <a:rPr lang="ru-RU" sz="1400" b="1" dirty="0" smtClean="0">
                <a:solidFill>
                  <a:srgbClr val="002060"/>
                </a:solidFill>
                <a:cs typeface="Tahoma" pitchFamily="34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cs typeface="Tahoma" pitchFamily="34" charset="0"/>
              </a:rPr>
              <a:t>се </a:t>
            </a:r>
            <a:r>
              <a:rPr lang="ru-RU" sz="1400" b="1" dirty="0" err="1" smtClean="0">
                <a:solidFill>
                  <a:srgbClr val="002060"/>
                </a:solidFill>
                <a:cs typeface="Tahoma" pitchFamily="34" charset="0"/>
              </a:rPr>
              <a:t>обявяване</a:t>
            </a:r>
            <a:r>
              <a:rPr lang="ru-RU" sz="1400" b="1" dirty="0" smtClean="0">
                <a:solidFill>
                  <a:srgbClr val="002060"/>
                </a:solidFill>
                <a:cs typeface="Tahoma" pitchFamily="34" charset="0"/>
              </a:rPr>
              <a:t> на </a:t>
            </a:r>
            <a:r>
              <a:rPr lang="ru-RU" sz="1400" b="1" dirty="0" err="1" smtClean="0">
                <a:solidFill>
                  <a:srgbClr val="002060"/>
                </a:solidFill>
                <a:cs typeface="Tahoma" pitchFamily="34" charset="0"/>
              </a:rPr>
              <a:t>процедурите</a:t>
            </a:r>
            <a:r>
              <a:rPr lang="ru-RU" sz="1400" b="1" dirty="0" smtClean="0">
                <a:solidFill>
                  <a:srgbClr val="002060"/>
                </a:solidFill>
                <a:cs typeface="Tahoma" pitchFamily="34" charset="0"/>
              </a:rPr>
              <a:t> в ИСУН </a:t>
            </a:r>
            <a:r>
              <a:rPr lang="ru-RU" sz="1400" b="1" dirty="0">
                <a:solidFill>
                  <a:srgbClr val="002060"/>
                </a:solidFill>
                <a:cs typeface="Tahoma" pitchFamily="34" charset="0"/>
              </a:rPr>
              <a:t>до края на 2017 </a:t>
            </a:r>
            <a:r>
              <a:rPr lang="ru-RU" sz="1400" b="1" dirty="0" smtClean="0">
                <a:solidFill>
                  <a:srgbClr val="002060"/>
                </a:solidFill>
                <a:cs typeface="Tahoma" pitchFamily="34" charset="0"/>
              </a:rPr>
              <a:t>година.</a:t>
            </a: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Arial" panose="020B0604020202020204" pitchFamily="34" charset="0"/>
              <a:buChar char="•"/>
              <a:defRPr/>
            </a:pPr>
            <a:endParaRPr lang="ru-RU" sz="1400" b="1" dirty="0">
              <a:solidFill>
                <a:srgbClr val="00206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ru-RU" sz="1400" b="1" dirty="0" err="1">
                <a:solidFill>
                  <a:srgbClr val="002060"/>
                </a:solidFill>
                <a:cs typeface="Tahoma" pitchFamily="34" charset="0"/>
              </a:rPr>
              <a:t>Попълнени</a:t>
            </a:r>
            <a:r>
              <a:rPr lang="ru-RU" sz="1400" b="1" dirty="0">
                <a:solidFill>
                  <a:srgbClr val="002060"/>
                </a:solidFill>
                <a:cs typeface="Tahoma" pitchFamily="34" charset="0"/>
              </a:rPr>
              <a:t> и </a:t>
            </a:r>
            <a:r>
              <a:rPr lang="ru-RU" sz="1400" b="1" dirty="0" err="1">
                <a:solidFill>
                  <a:srgbClr val="002060"/>
                </a:solidFill>
                <a:cs typeface="Tahoma" pitchFamily="34" charset="0"/>
              </a:rPr>
              <a:t>изпратени</a:t>
            </a:r>
            <a:r>
              <a:rPr lang="ru-RU" sz="1400" b="1" dirty="0">
                <a:solidFill>
                  <a:srgbClr val="002060"/>
                </a:solidFill>
                <a:cs typeface="Tahoma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cs typeface="Tahoma" pitchFamily="34" charset="0"/>
              </a:rPr>
              <a:t>са</a:t>
            </a:r>
            <a:r>
              <a:rPr lang="ru-RU" sz="1400" b="1" dirty="0">
                <a:solidFill>
                  <a:srgbClr val="002060"/>
                </a:solidFill>
                <a:cs typeface="Tahoma" pitchFamily="34" charset="0"/>
              </a:rPr>
              <a:t> </a:t>
            </a:r>
            <a:r>
              <a:rPr lang="ru-RU" sz="1400" b="1" dirty="0" err="1" smtClean="0">
                <a:solidFill>
                  <a:srgbClr val="002060"/>
                </a:solidFill>
                <a:cs typeface="Tahoma" pitchFamily="34" charset="0"/>
              </a:rPr>
              <a:t>въпросниците</a:t>
            </a:r>
            <a:r>
              <a:rPr lang="ru-RU" sz="1400" b="1" dirty="0" smtClean="0">
                <a:solidFill>
                  <a:srgbClr val="002060"/>
                </a:solidFill>
                <a:cs typeface="Tahoma" pitchFamily="34" charset="0"/>
              </a:rPr>
              <a:t> на ЕК </a:t>
            </a:r>
            <a:r>
              <a:rPr lang="ru-RU" sz="1400" b="1" dirty="0" err="1">
                <a:solidFill>
                  <a:srgbClr val="002060"/>
                </a:solidFill>
                <a:cs typeface="Tahoma" pitchFamily="34" charset="0"/>
              </a:rPr>
              <a:t>във</a:t>
            </a:r>
            <a:r>
              <a:rPr lang="ru-RU" sz="1400" b="1" dirty="0">
                <a:solidFill>
                  <a:srgbClr val="002060"/>
                </a:solidFill>
                <a:cs typeface="Tahoma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cs typeface="Tahoma" pitchFamily="34" charset="0"/>
              </a:rPr>
              <a:t>връзка</a:t>
            </a:r>
            <a:r>
              <a:rPr lang="ru-RU" sz="1400" b="1" dirty="0">
                <a:solidFill>
                  <a:srgbClr val="002060"/>
                </a:solidFill>
                <a:cs typeface="Tahoma" pitchFamily="34" charset="0"/>
              </a:rPr>
              <a:t> с мониторинг на </a:t>
            </a:r>
            <a:r>
              <a:rPr lang="ru-RU" sz="1400" b="1" dirty="0" err="1">
                <a:solidFill>
                  <a:srgbClr val="002060"/>
                </a:solidFill>
                <a:cs typeface="Tahoma" pitchFamily="34" charset="0"/>
              </a:rPr>
              <a:t>изпълнението</a:t>
            </a:r>
            <a:r>
              <a:rPr lang="ru-RU" sz="1400" b="1" dirty="0">
                <a:solidFill>
                  <a:srgbClr val="002060"/>
                </a:solidFill>
                <a:cs typeface="Tahoma" pitchFamily="34" charset="0"/>
              </a:rPr>
              <a:t> на </a:t>
            </a:r>
            <a:r>
              <a:rPr lang="ru-RU" sz="1400" b="1" dirty="0" err="1">
                <a:solidFill>
                  <a:srgbClr val="002060"/>
                </a:solidFill>
                <a:cs typeface="Tahoma" pitchFamily="34" charset="0"/>
              </a:rPr>
              <a:t>стратегията</a:t>
            </a:r>
            <a:r>
              <a:rPr lang="ru-RU" sz="1400" b="1" dirty="0">
                <a:solidFill>
                  <a:srgbClr val="002060"/>
                </a:solidFill>
                <a:cs typeface="Tahoma" pitchFamily="34" charset="0"/>
              </a:rPr>
              <a:t> за </a:t>
            </a:r>
            <a:r>
              <a:rPr lang="ru-RU" sz="1400" b="1" dirty="0" err="1">
                <a:solidFill>
                  <a:srgbClr val="002060"/>
                </a:solidFill>
                <a:cs typeface="Tahoma" pitchFamily="34" charset="0"/>
              </a:rPr>
              <a:t>местно</a:t>
            </a:r>
            <a:r>
              <a:rPr lang="ru-RU" sz="1400" b="1" dirty="0">
                <a:solidFill>
                  <a:srgbClr val="002060"/>
                </a:solidFill>
                <a:cs typeface="Tahoma" pitchFamily="34" charset="0"/>
              </a:rPr>
              <a:t> </a:t>
            </a:r>
            <a:r>
              <a:rPr lang="ru-RU" sz="1400" b="1" dirty="0" smtClean="0">
                <a:solidFill>
                  <a:srgbClr val="002060"/>
                </a:solidFill>
                <a:cs typeface="Tahoma" pitchFamily="34" charset="0"/>
              </a:rPr>
              <a:t>развитие на </a:t>
            </a:r>
            <a:r>
              <a:rPr lang="ru-RU" sz="1400" b="1" dirty="0">
                <a:solidFill>
                  <a:srgbClr val="002060"/>
                </a:solidFill>
                <a:cs typeface="Tahoma" pitchFamily="34" charset="0"/>
              </a:rPr>
              <a:t>СНЦ "МИГ-ГОЦЕ ДЕЛЧЕВ-ГЪРМЕН-ХАДЖИДИМОВО</a:t>
            </a:r>
            <a:r>
              <a:rPr lang="ru-RU" sz="1400" b="1" dirty="0" smtClean="0">
                <a:solidFill>
                  <a:srgbClr val="002060"/>
                </a:solidFill>
                <a:cs typeface="Tahoma" pitchFamily="34" charset="0"/>
              </a:rPr>
              <a:t>".</a:t>
            </a: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Wingdings" panose="05000000000000000000" pitchFamily="2" charset="2"/>
              <a:buChar char="Ø"/>
              <a:defRPr/>
            </a:pPr>
            <a:endParaRPr lang="ru-RU" sz="1200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  <a:p>
            <a:pPr marL="180975" lvl="0" indent="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None/>
              <a:defRPr/>
            </a:pPr>
            <a:endParaRPr lang="ru-RU" sz="12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86497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116632"/>
            <a:ext cx="8928992" cy="936104"/>
          </a:xfrm>
        </p:spPr>
        <p:txBody>
          <a:bodyPr anchor="ctr"/>
          <a:lstStyle/>
          <a:p>
            <a:pPr marL="0" indent="0" algn="ctr">
              <a:buNone/>
              <a:defRPr/>
            </a:pPr>
            <a:r>
              <a:rPr lang="ru-RU" sz="2400" dirty="0" smtClean="0"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     </a:t>
            </a:r>
            <a:r>
              <a:rPr lang="ru-RU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Общ </a:t>
            </a:r>
            <a:r>
              <a:rPr lang="ru-RU" sz="2400" dirty="0" err="1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реглед</a:t>
            </a:r>
            <a:r>
              <a:rPr lang="ru-RU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на </a:t>
            </a:r>
            <a:r>
              <a:rPr lang="ru-RU" sz="2400" dirty="0" err="1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напредъка</a:t>
            </a:r>
            <a:r>
              <a:rPr lang="ru-RU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в </a:t>
            </a:r>
            <a:r>
              <a:rPr lang="ru-RU" sz="2400" dirty="0" err="1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изпълнението</a:t>
            </a:r>
            <a:r>
              <a:rPr lang="ru-RU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на </a:t>
            </a:r>
            <a:r>
              <a:rPr lang="en-US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               </a:t>
            </a:r>
            <a:r>
              <a:rPr lang="ru-RU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ОПИК </a:t>
            </a:r>
            <a:r>
              <a:rPr lang="ru-RU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2014-2020 г. </a:t>
            </a:r>
            <a:r>
              <a:rPr lang="bg-BG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към </a:t>
            </a:r>
            <a:r>
              <a:rPr lang="en-US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30</a:t>
            </a:r>
            <a:r>
              <a:rPr lang="bg-BG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.</a:t>
            </a:r>
            <a:r>
              <a:rPr lang="en-US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11</a:t>
            </a:r>
            <a:r>
              <a:rPr lang="bg-BG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.</a:t>
            </a:r>
            <a:r>
              <a:rPr lang="ru-RU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2017 </a:t>
            </a:r>
            <a:r>
              <a:rPr lang="ru-RU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г. </a:t>
            </a:r>
          </a:p>
        </p:txBody>
      </p:sp>
      <p:sp>
        <p:nvSpPr>
          <p:cNvPr id="3075" name="Content Placeholder 2"/>
          <p:cNvSpPr>
            <a:spLocks noGrp="1"/>
          </p:cNvSpPr>
          <p:nvPr>
            <p:ph sz="quarter" idx="13"/>
          </p:nvPr>
        </p:nvSpPr>
        <p:spPr bwMode="auto">
          <a:xfrm>
            <a:off x="179512" y="1268760"/>
            <a:ext cx="8784976" cy="54006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  <a:normAutofit fontScale="85000" lnSpcReduction="20000"/>
          </a:bodyPr>
          <a:lstStyle/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бявени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а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en-US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9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цедури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за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едоставяне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БФП</a:t>
            </a:r>
            <a:r>
              <a:rPr lang="en-US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bg-BG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чрез конкурентен 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одбор, </a:t>
            </a:r>
            <a:r>
              <a:rPr lang="en-US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11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цедури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за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директно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едоставяне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bg-BG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на БФП</a:t>
            </a:r>
            <a:r>
              <a:rPr lang="en-US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, </a:t>
            </a:r>
            <a:r>
              <a:rPr lang="ru-RU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4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бюджетни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линии, </a:t>
            </a:r>
            <a:r>
              <a:rPr lang="bg-BG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одписано 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финансово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поразумение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с „Фонд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мениджър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финансови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инструменти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в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България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“ ЕАД (ФМФИБ)</a:t>
            </a:r>
            <a:r>
              <a:rPr lang="bg-BG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;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bg-BG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бявените процедури и финансовото споразумение с ФМФИБ са на 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бща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тойност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bg-BG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1 809.48</a:t>
            </a:r>
            <a:r>
              <a:rPr lang="en-US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bg-BG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млн.</a:t>
            </a:r>
            <a:r>
              <a:rPr lang="bg-BG" sz="1800" dirty="0" err="1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лв</a:t>
            </a:r>
            <a:r>
              <a:rPr lang="bg-BG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bg-BG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/ приблизително </a:t>
            </a:r>
            <a:r>
              <a:rPr lang="bg-BG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72.84 %</a:t>
            </a:r>
            <a:r>
              <a:rPr lang="bg-BG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от бюджета на ОПИК;</a:t>
            </a:r>
            <a:endParaRPr lang="ru-RU" sz="1800" dirty="0" smtClean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bg-BG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о програмата са с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ключени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бщо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en-US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162</a:t>
            </a:r>
            <a:r>
              <a:rPr lang="bg-BG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6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договора с общ размер на </a:t>
            </a:r>
            <a:r>
              <a:rPr lang="bg-BG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едоставената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БФП </a:t>
            </a:r>
            <a:r>
              <a:rPr lang="bg-BG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985.45</a:t>
            </a:r>
            <a:r>
              <a:rPr lang="ru-RU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млн. </a:t>
            </a:r>
            <a:r>
              <a:rPr lang="bg-BG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лева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(</a:t>
            </a:r>
            <a:r>
              <a:rPr lang="bg-BG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редствата са предоставени по ПО </a:t>
            </a:r>
            <a:r>
              <a:rPr lang="en-US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1</a:t>
            </a:r>
            <a:r>
              <a:rPr lang="bg-BG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, 2</a:t>
            </a:r>
            <a:r>
              <a:rPr lang="en-US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, 3</a:t>
            </a:r>
            <a:r>
              <a:rPr lang="bg-BG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 и 5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);</a:t>
            </a: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bg-BG" sz="18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Броят</a:t>
            </a:r>
            <a:r>
              <a:rPr lang="ru-RU" sz="18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</a:t>
            </a:r>
            <a:r>
              <a:rPr lang="bg-BG" sz="18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ключените договори на територията на Югозападен район е </a:t>
            </a:r>
            <a:r>
              <a:rPr lang="en-US" sz="18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35</a:t>
            </a:r>
            <a:r>
              <a:rPr lang="bg-BG" sz="18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9 (</a:t>
            </a:r>
            <a:r>
              <a:rPr lang="en-US" sz="1800" b="1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2</a:t>
            </a:r>
            <a:r>
              <a:rPr lang="bg-BG" sz="1800" b="1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2</a:t>
            </a:r>
            <a:r>
              <a:rPr lang="en-US" sz="1800" b="1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.</a:t>
            </a:r>
            <a:r>
              <a:rPr lang="bg-BG" sz="1800" b="1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0</a:t>
            </a:r>
            <a:r>
              <a:rPr lang="bg-BG" sz="1800" b="1" dirty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8</a:t>
            </a:r>
            <a:r>
              <a:rPr lang="en-US" sz="1800" b="1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bg-BG" sz="1800" b="1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%</a:t>
            </a:r>
            <a:r>
              <a:rPr lang="bg-BG" sz="18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от всички сключени договори</a:t>
            </a:r>
            <a:r>
              <a:rPr lang="ru-RU" sz="18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), </a:t>
            </a:r>
            <a:r>
              <a:rPr lang="bg-BG" sz="18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като размерът на БФП възлиза на </a:t>
            </a:r>
            <a:r>
              <a:rPr lang="en-US" sz="1800" b="1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165 </a:t>
            </a:r>
            <a:r>
              <a:rPr lang="bg-BG" sz="1800" b="1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млн.</a:t>
            </a:r>
            <a:r>
              <a:rPr lang="bg-BG" sz="18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bg-BG" sz="1800" b="1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лв</a:t>
            </a:r>
            <a:r>
              <a:rPr lang="ru-RU" sz="18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.</a:t>
            </a:r>
            <a:endParaRPr lang="en-US" sz="1800" b="1" dirty="0" smtClean="0">
              <a:solidFill>
                <a:srgbClr val="002060"/>
              </a:solidFill>
              <a:latin typeface="Trebuchet MS" panose="020B0603020202020204" pitchFamily="34" charset="0"/>
              <a:cs typeface="Tahoma" pitchFamily="34" charset="0"/>
            </a:endParaRP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В </a:t>
            </a:r>
            <a:r>
              <a:rPr lang="bg-BG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изпълнение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bg-BG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а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bg-BG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967 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договора за БФП,</a:t>
            </a:r>
            <a:r>
              <a:rPr lang="bg-BG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приключени </a:t>
            </a:r>
            <a:r>
              <a:rPr lang="en-US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(</a:t>
            </a:r>
            <a:r>
              <a:rPr lang="bg-BG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 извършени финални плащания</a:t>
            </a:r>
            <a:r>
              <a:rPr lang="en-US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)</a:t>
            </a:r>
            <a:r>
              <a:rPr lang="bg-BG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са </a:t>
            </a:r>
            <a:r>
              <a:rPr lang="bg-BG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625 </a:t>
            </a:r>
            <a:r>
              <a:rPr lang="bg-BG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договора, </a:t>
            </a:r>
            <a:r>
              <a:rPr lang="bg-BG" sz="18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т които </a:t>
            </a:r>
            <a:r>
              <a:rPr lang="bg-BG" sz="1800" b="1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82</a:t>
            </a:r>
            <a:r>
              <a:rPr lang="bg-BG" sz="18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8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на </a:t>
            </a:r>
            <a:r>
              <a:rPr lang="bg-BG" sz="18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територията</a:t>
            </a:r>
            <a:r>
              <a:rPr lang="ru-RU" sz="18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</a:t>
            </a:r>
            <a:r>
              <a:rPr lang="bg-BG" sz="1800" b="1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Югозападен</a:t>
            </a:r>
            <a:r>
              <a:rPr lang="ru-RU" sz="1800" b="1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район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;</a:t>
            </a:r>
          </a:p>
          <a:p>
            <a:pPr marL="466725" lvl="0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Извършени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лащания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от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началото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на периода - </a:t>
            </a:r>
            <a:r>
              <a:rPr lang="en-US" sz="1800" dirty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540.06 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млн. лева,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включително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114.91 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млн. лева за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финансови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инструменти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,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което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едставлява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en-US" sz="1800" dirty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21.74</a:t>
            </a:r>
            <a:r>
              <a:rPr lang="ru-RU" sz="1800" dirty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% 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т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бщия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бюджет на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грмата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;</a:t>
            </a:r>
          </a:p>
          <a:p>
            <a:pPr marL="466725" indent="-285750" algn="just">
              <a:lnSpc>
                <a:spcPct val="150000"/>
              </a:lnSpc>
              <a:spcBef>
                <a:spcPct val="0"/>
              </a:spcBef>
              <a:buClr>
                <a:srgbClr val="F14124">
                  <a:lumMod val="75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Сертифицирани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средства – </a:t>
            </a:r>
            <a:r>
              <a:rPr lang="en-US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476</a:t>
            </a:r>
            <a:r>
              <a:rPr lang="bg-BG" sz="1800" dirty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.</a:t>
            </a:r>
            <a:r>
              <a:rPr lang="en-US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21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млн. лева,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което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едставлява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</a:t>
            </a:r>
            <a:r>
              <a:rPr lang="en-US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19</a:t>
            </a:r>
            <a:r>
              <a:rPr lang="bg-BG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.</a:t>
            </a:r>
            <a:r>
              <a:rPr lang="en-US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08</a:t>
            </a:r>
            <a:r>
              <a:rPr lang="ru-RU" sz="1800" dirty="0" smtClean="0">
                <a:solidFill>
                  <a:srgbClr val="FF0000"/>
                </a:solidFill>
                <a:latin typeface="Trebuchet MS" panose="020B0603020202020204" pitchFamily="34" charset="0"/>
                <a:cs typeface="Tahoma" pitchFamily="34" charset="0"/>
              </a:rPr>
              <a:t> %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от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общия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 бюджет на </a:t>
            </a:r>
            <a:r>
              <a:rPr lang="ru-RU" sz="1800" dirty="0" err="1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прогр</a:t>
            </a:r>
            <a:r>
              <a:rPr lang="bg-BG" sz="1800" dirty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а</a:t>
            </a:r>
            <a:r>
              <a:rPr lang="ru-RU" sz="1800" dirty="0" smtClean="0">
                <a:solidFill>
                  <a:srgbClr val="002060"/>
                </a:solidFill>
                <a:latin typeface="Trebuchet MS" panose="020B0603020202020204" pitchFamily="34" charset="0"/>
                <a:cs typeface="Tahoma" pitchFamily="34" charset="0"/>
              </a:rPr>
              <a:t>мата.</a:t>
            </a:r>
            <a:endParaRPr lang="bg-BG" sz="1400" dirty="0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1701868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20</a:t>
            </a:fld>
            <a:endParaRPr lang="bg-BG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331640" y="1988840"/>
            <a:ext cx="6512511" cy="1143000"/>
          </a:xfrm>
        </p:spPr>
        <p:txBody>
          <a:bodyPr/>
          <a:lstStyle/>
          <a:p>
            <a:pPr marL="45720" indent="0" algn="ctr">
              <a:spcBef>
                <a:spcPct val="20000"/>
              </a:spcBef>
              <a:spcAft>
                <a:spcPts val="300"/>
              </a:spcAft>
              <a:buSzPct val="130000"/>
              <a:buNone/>
            </a:pPr>
            <a:r>
              <a:rPr lang="bg-BG" sz="32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РЕДСТОЯЩИ ЗА ОБЯВЯВАНЕ ПРОЦЕДУРИ </a:t>
            </a:r>
          </a:p>
        </p:txBody>
      </p:sp>
    </p:spTree>
    <p:extLst>
      <p:ext uri="{BB962C8B-B14F-4D97-AF65-F5344CB8AC3E}">
        <p14:creationId xmlns:p14="http://schemas.microsoft.com/office/powerpoint/2010/main" val="2825306992"/>
      </p:ext>
    </p:extLst>
  </p:cSld>
  <p:clrMapOvr>
    <a:masterClrMapping/>
  </p:clrMapOvr>
  <p:transition spd="med">
    <p:dissolv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 bwMode="auto">
          <a:xfrm>
            <a:off x="467544" y="188640"/>
            <a:ext cx="8208911" cy="792088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</a:pPr>
            <a:r>
              <a:rPr lang="bg-BG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роцедури 2017 по ПО 2 „Предприемачество и капацитет за растеж на МСП</a:t>
            </a:r>
            <a:r>
              <a:rPr lang="bg-BG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“</a:t>
            </a:r>
            <a:r>
              <a:rPr lang="bg-BG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bg-BG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</a:br>
            <a:endParaRPr lang="bg-BG" sz="2400" dirty="0">
              <a:solidFill>
                <a:srgbClr val="002060"/>
              </a:solidFill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258763" y="1268760"/>
            <a:ext cx="8605838" cy="1296145"/>
            <a:chOff x="258763" y="1340768"/>
            <a:chExt cx="8605838" cy="1296145"/>
          </a:xfrm>
        </p:grpSpPr>
        <p:sp>
          <p:nvSpPr>
            <p:cNvPr id="27" name="Text Box 6"/>
            <p:cNvSpPr txBox="1">
              <a:spLocks noChangeArrowheads="1"/>
            </p:cNvSpPr>
            <p:nvPr/>
          </p:nvSpPr>
          <p:spPr bwMode="auto">
            <a:xfrm>
              <a:off x="258763" y="1863799"/>
              <a:ext cx="8599488" cy="773114"/>
            </a:xfrm>
            <a:prstGeom prst="rect">
              <a:avLst/>
            </a:prstGeom>
            <a:ln>
              <a:headEnd/>
              <a:tailEnd/>
            </a:ln>
            <a:extLst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/>
            <a:lstStyle>
              <a:lvl1pPr marL="342900" indent="-3429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indent="0" eaLnBrk="1" fontAlgn="auto" hangingPunct="1">
                <a:spcBef>
                  <a:spcPct val="35000"/>
                </a:spcBef>
                <a:spcAft>
                  <a:spcPts val="0"/>
                </a:spcAft>
                <a:buClr>
                  <a:srgbClr val="1F497D"/>
                </a:buClr>
                <a:buSzPct val="110000"/>
                <a:defRPr/>
              </a:pPr>
              <a:r>
                <a:rPr lang="ru-RU" sz="1400" b="1" kern="0" dirty="0" err="1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Основна</a:t>
              </a:r>
              <a:r>
                <a:rPr lang="ru-RU" sz="14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 цел: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Създаване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и развитие на нови предприятия в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специфични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сфери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,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свързани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с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преодоляването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на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европейските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и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регионални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предизвикателства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и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</a:rPr>
                <a:t>секторите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 на НСНМСП</a:t>
              </a:r>
            </a:p>
            <a:p>
              <a:pPr marL="0" indent="0" eaLnBrk="1" fontAlgn="auto" hangingPunct="1">
                <a:spcBef>
                  <a:spcPct val="35000"/>
                </a:spcBef>
                <a:spcAft>
                  <a:spcPts val="0"/>
                </a:spcAft>
                <a:buClr>
                  <a:srgbClr val="1F497D"/>
                </a:buClr>
                <a:buSzPct val="110000"/>
                <a:defRPr/>
              </a:pPr>
              <a:r>
                <a:rPr lang="ru-RU" sz="14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Бюджет</a:t>
              </a:r>
              <a:r>
                <a:rPr lang="ru-RU" sz="1400" b="1" kern="0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: </a:t>
              </a:r>
              <a:r>
                <a:rPr lang="ru-RU" sz="14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</a:rPr>
                <a:t>34 373 012  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евро </a:t>
              </a:r>
              <a:r>
                <a:rPr lang="en-US" sz="1400" kern="0" dirty="0" smtClean="0">
                  <a:solidFill>
                    <a:srgbClr val="002060"/>
                  </a:solidFill>
                  <a:latin typeface="+mn-lt"/>
                </a:rPr>
                <a:t>(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67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</a:rPr>
                <a:t>227 768.06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</a:rPr>
                <a:t>лв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</a:rPr>
                <a:t>.)</a:t>
              </a:r>
            </a:p>
          </p:txBody>
        </p:sp>
        <p:sp>
          <p:nvSpPr>
            <p:cNvPr id="28" name="Rectangle 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58763" y="1340768"/>
              <a:ext cx="8605838" cy="523031"/>
            </a:xfrm>
            <a:prstGeom prst="rect">
              <a:avLst/>
            </a:prstGeom>
            <a:ln>
              <a:headEnd/>
              <a:tailEnd/>
            </a:ln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bg-BG" sz="2000" b="1" kern="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Процедура „</a:t>
              </a:r>
              <a:r>
                <a:rPr lang="ru-RU" sz="2000" b="1" kern="0" dirty="0" err="1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Насърчаване</a:t>
              </a:r>
              <a:r>
                <a:rPr lang="ru-RU" sz="2000" b="1" kern="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 на </a:t>
              </a:r>
              <a:r>
                <a:rPr lang="ru-RU" sz="2000" b="1" kern="0" dirty="0" err="1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предприемачеството</a:t>
              </a:r>
              <a:r>
                <a:rPr lang="bg-BG" sz="2000" b="1" kern="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“  </a:t>
              </a:r>
              <a:endParaRPr lang="en-US" sz="2000" b="1" kern="0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</p:grpSp>
      <p:sp>
        <p:nvSpPr>
          <p:cNvPr id="31" name="AutoShap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0800000">
            <a:off x="2214546" y="2571744"/>
            <a:ext cx="4786312" cy="287337"/>
          </a:xfrm>
          <a:prstGeom prst="triangle">
            <a:avLst>
              <a:gd name="adj" fmla="val 49780"/>
            </a:avLst>
          </a:prstGeom>
          <a:ln>
            <a:headEnd/>
            <a:tailEnd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ot="10800000" vert="eaVert" wrap="none" lIns="90488" tIns="44450" rIns="90488" bIns="44450" anchor="ctr"/>
          <a:lstStyle/>
          <a:p>
            <a:pPr eaLnBrk="0" fontAlgn="auto" hangingPunct="0">
              <a:spcAft>
                <a:spcPts val="0"/>
              </a:spcAft>
              <a:defRPr/>
            </a:pPr>
            <a:endParaRPr lang="de-DE" sz="1600" b="1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73051" y="3552029"/>
            <a:ext cx="4285456" cy="3168351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lIns="90488" tIns="91440" rIns="90488" bIns="91440"/>
          <a:lstStyle/>
          <a:p>
            <a:r>
              <a:rPr lang="bg-BG" sz="1400" dirty="0" smtClean="0">
                <a:solidFill>
                  <a:srgbClr val="002060"/>
                </a:solidFill>
                <a:latin typeface="+mn-lt"/>
              </a:rPr>
              <a:t>Допустими кандидати: </a:t>
            </a:r>
            <a:r>
              <a:rPr lang="ru-RU" sz="1400" dirty="0">
                <a:solidFill>
                  <a:srgbClr val="002060"/>
                </a:solidFill>
                <a:latin typeface="+mn-lt"/>
              </a:rPr>
              <a:t>Микро, малки и средни предприятия 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са търговци по смисъла на ТЗ или Закона за кооперациите с по-малко от две приключили финансови години;</a:t>
            </a:r>
            <a:endParaRPr lang="bg-BG" sz="1400" dirty="0" smtClean="0">
              <a:solidFill>
                <a:srgbClr val="002060"/>
              </a:solidFill>
              <a:latin typeface="+mn-lt"/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ru-RU" sz="1400" dirty="0" smtClean="0">
              <a:solidFill>
                <a:srgbClr val="002060"/>
              </a:solidFill>
              <a:latin typeface="+mn-lt"/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Допустими дейности:</a:t>
            </a:r>
          </a:p>
          <a:p>
            <a:pPr>
              <a:buBlip>
                <a:blip r:embed="rId8"/>
              </a:buBlip>
            </a:pP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 Дейности за създаване и укрепване на административното тяло на кандидата; </a:t>
            </a:r>
          </a:p>
          <a:p>
            <a:pPr>
              <a:buBlip>
                <a:blip r:embed="rId8"/>
              </a:buBlip>
            </a:pP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 Дейности за реализиране на пазара на предприемачески идеи (</a:t>
            </a:r>
            <a:r>
              <a:rPr lang="ru-RU" sz="1400" dirty="0" err="1" smtClean="0">
                <a:solidFill>
                  <a:srgbClr val="002060"/>
                </a:solidFill>
                <a:latin typeface="+mn-lt"/>
              </a:rPr>
              <a:t>продукти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 – стоки или услуги); </a:t>
            </a: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9"/>
              </a:buBlip>
              <a:defRPr/>
            </a:pPr>
            <a:endParaRPr lang="ru-RU" sz="1400" dirty="0" smtClean="0">
              <a:solidFill>
                <a:srgbClr val="000000"/>
              </a:solidFill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9"/>
              </a:buBlip>
              <a:defRPr/>
            </a:pPr>
            <a:endParaRPr lang="ru-RU" sz="1400" dirty="0">
              <a:solidFill>
                <a:srgbClr val="000000"/>
              </a:solidFill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9"/>
              </a:buBlip>
              <a:defRPr/>
            </a:pPr>
            <a:endParaRPr lang="ru-RU" sz="1400" dirty="0">
              <a:solidFill>
                <a:srgbClr val="000000"/>
              </a:solidFill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9"/>
              </a:buBlip>
              <a:defRPr/>
            </a:pPr>
            <a:endParaRPr lang="en-US" sz="1400" b="1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716016" y="3552031"/>
            <a:ext cx="4148585" cy="3168350"/>
          </a:xfrm>
          <a:prstGeom prst="rect">
            <a:avLst/>
          </a:prstGeom>
          <a:noFill/>
          <a:ln w="12700">
            <a:solidFill>
              <a:sysClr val="windowText" lastClr="000000"/>
            </a:solidFill>
            <a:miter lim="800000"/>
            <a:headEnd/>
            <a:tailEnd/>
          </a:ln>
        </p:spPr>
        <p:txBody>
          <a:bodyPr lIns="90488" tIns="91440" rIns="90488" bIns="91440"/>
          <a:lstStyle/>
          <a:p>
            <a:pPr marL="285750" lvl="1" indent="-285750" defTabSz="912813" eaLnBrk="0" hangingPunct="0">
              <a:lnSpc>
                <a:spcPct val="90000"/>
              </a:lnSpc>
              <a:spcBef>
                <a:spcPct val="20000"/>
              </a:spcBef>
              <a:buBlip>
                <a:blip r:embed="rId8"/>
              </a:buBlip>
              <a:defRPr/>
            </a:pPr>
            <a:r>
              <a:rPr lang="ru-RU" sz="1400" kern="0" dirty="0" err="1" smtClean="0">
                <a:solidFill>
                  <a:srgbClr val="002060"/>
                </a:solidFill>
                <a:latin typeface="+mn-lt"/>
                <a:cs typeface="Arial" pitchFamily="34" charset="0"/>
              </a:rPr>
              <a:t>Инвестиционни</a:t>
            </a:r>
            <a:r>
              <a:rPr lang="ru-RU" sz="1400" kern="0" dirty="0" smtClean="0">
                <a:solidFill>
                  <a:srgbClr val="002060"/>
                </a:solidFill>
                <a:latin typeface="+mn-lt"/>
                <a:cs typeface="Arial" pitchFamily="34" charset="0"/>
              </a:rPr>
              <a:t> </a:t>
            </a:r>
            <a:r>
              <a:rPr lang="ru-RU" sz="1400" kern="0" dirty="0" err="1" smtClean="0">
                <a:solidFill>
                  <a:srgbClr val="002060"/>
                </a:solidFill>
                <a:latin typeface="+mn-lt"/>
                <a:cs typeface="Arial" pitchFamily="34" charset="0"/>
              </a:rPr>
              <a:t>разходи</a:t>
            </a:r>
            <a:r>
              <a:rPr lang="ru-RU" sz="1400" kern="0" dirty="0" smtClean="0">
                <a:solidFill>
                  <a:srgbClr val="002060"/>
                </a:solidFill>
                <a:latin typeface="+mn-lt"/>
                <a:cs typeface="Arial" pitchFamily="34" charset="0"/>
              </a:rPr>
              <a:t> (ДМА и ДНА)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 </a:t>
            </a:r>
          </a:p>
          <a:p>
            <a:pPr marL="285750" lvl="1" indent="-285750" defTabSz="912813" eaLnBrk="0" hangingPunct="0">
              <a:lnSpc>
                <a:spcPct val="90000"/>
              </a:lnSpc>
              <a:spcBef>
                <a:spcPct val="20000"/>
              </a:spcBef>
              <a:buBlip>
                <a:blip r:embed="rId8"/>
              </a:buBlip>
              <a:defRPr/>
            </a:pPr>
            <a:r>
              <a:rPr lang="ru-RU" sz="1400" dirty="0" err="1" smtClean="0">
                <a:solidFill>
                  <a:srgbClr val="002060"/>
                </a:solidFill>
                <a:latin typeface="+mn-lt"/>
              </a:rPr>
              <a:t>Разходи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 за услуги </a:t>
            </a:r>
          </a:p>
          <a:p>
            <a:pPr marL="285750" lvl="1" indent="-285750" defTabSz="912813" eaLnBrk="0" hangingPunct="0">
              <a:lnSpc>
                <a:spcPct val="90000"/>
              </a:lnSpc>
              <a:spcBef>
                <a:spcPct val="20000"/>
              </a:spcBef>
              <a:buBlip>
                <a:blip r:embed="rId8"/>
              </a:buBlip>
              <a:defRPr/>
            </a:pPr>
            <a:r>
              <a:rPr lang="ru-RU" sz="1400" dirty="0" err="1" smtClean="0">
                <a:solidFill>
                  <a:srgbClr val="002060"/>
                </a:solidFill>
                <a:latin typeface="+mn-lt"/>
              </a:rPr>
              <a:t>Оперативни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+mn-lt"/>
              </a:rPr>
              <a:t>разходи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 </a:t>
            </a:r>
            <a:r>
              <a:rPr lang="ru-RU" sz="1400" dirty="0">
                <a:solidFill>
                  <a:srgbClr val="002060"/>
                </a:solidFill>
                <a:latin typeface="+mn-lt"/>
              </a:rPr>
              <a:t>(</a:t>
            </a:r>
            <a:r>
              <a:rPr lang="ru-RU" sz="1400" dirty="0" err="1">
                <a:solidFill>
                  <a:srgbClr val="002060"/>
                </a:solidFill>
                <a:latin typeface="+mn-lt"/>
              </a:rPr>
              <a:t>възнаграждения</a:t>
            </a:r>
            <a:r>
              <a:rPr lang="ru-RU" sz="1400" dirty="0">
                <a:solidFill>
                  <a:srgbClr val="002060"/>
                </a:solidFill>
                <a:latin typeface="+mn-lt"/>
              </a:rPr>
              <a:t>, наем на помещения и др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.)</a:t>
            </a:r>
          </a:p>
          <a:p>
            <a:pPr marL="285750" lvl="1" indent="-285750" defTabSz="912813" eaLnBrk="0" hangingPunct="0">
              <a:lnSpc>
                <a:spcPct val="90000"/>
              </a:lnSpc>
              <a:spcBef>
                <a:spcPct val="20000"/>
              </a:spcBef>
              <a:buBlip>
                <a:blip r:embed="rId8"/>
              </a:buBlip>
              <a:defRPr/>
            </a:pPr>
            <a:endParaRPr lang="ru-RU" sz="1400" dirty="0">
              <a:solidFill>
                <a:srgbClr val="002060"/>
              </a:solidFill>
              <a:latin typeface="+mn-lt"/>
            </a:endParaRPr>
          </a:p>
          <a:p>
            <a:pPr marL="171450" lvl="1" indent="-171450" defTabSz="912813" eaLnBrk="0" hangingPunct="0">
              <a:lnSpc>
                <a:spcPct val="90000"/>
              </a:lnSpc>
              <a:spcBef>
                <a:spcPct val="20000"/>
              </a:spcBef>
              <a:buBlip>
                <a:blip r:embed="rId8"/>
              </a:buBlip>
              <a:defRPr/>
            </a:pPr>
            <a:endParaRPr lang="ru-RU" sz="900" dirty="0" smtClean="0">
              <a:solidFill>
                <a:srgbClr val="002060"/>
              </a:solidFill>
              <a:latin typeface="+mn-lt"/>
            </a:endParaRPr>
          </a:p>
          <a:p>
            <a:pPr marL="285750" lvl="1" indent="-285750" defTabSz="912813" eaLnBrk="0" hangingPunct="0">
              <a:lnSpc>
                <a:spcPct val="90000"/>
              </a:lnSpc>
              <a:spcBef>
                <a:spcPct val="20000"/>
              </a:spcBef>
              <a:buBlip>
                <a:blip r:embed="rId8"/>
              </a:buBlip>
              <a:defRPr/>
            </a:pPr>
            <a:r>
              <a:rPr lang="ru-RU" sz="1400" b="1" dirty="0" smtClean="0">
                <a:solidFill>
                  <a:srgbClr val="002060"/>
                </a:solidFill>
                <a:latin typeface="+mn-lt"/>
              </a:rPr>
              <a:t>Минимален </a:t>
            </a:r>
            <a:r>
              <a:rPr lang="ru-RU" sz="1400" b="1" dirty="0">
                <a:solidFill>
                  <a:srgbClr val="002060"/>
                </a:solidFill>
                <a:latin typeface="+mn-lt"/>
              </a:rPr>
              <a:t>размер на </a:t>
            </a:r>
            <a:r>
              <a:rPr lang="ru-RU" sz="1400" b="1" dirty="0" err="1">
                <a:solidFill>
                  <a:srgbClr val="002060"/>
                </a:solidFill>
                <a:latin typeface="+mn-lt"/>
              </a:rPr>
              <a:t>помощта</a:t>
            </a:r>
            <a:r>
              <a:rPr lang="ru-RU" sz="1400" b="1" dirty="0">
                <a:solidFill>
                  <a:srgbClr val="002060"/>
                </a:solidFill>
                <a:latin typeface="+mn-lt"/>
              </a:rPr>
              <a:t>:</a:t>
            </a:r>
            <a:r>
              <a:rPr lang="ru-RU" sz="1400" dirty="0">
                <a:solidFill>
                  <a:srgbClr val="002060"/>
                </a:solidFill>
                <a:latin typeface="+mn-lt"/>
              </a:rPr>
              <a:t> 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             50 </a:t>
            </a:r>
            <a:r>
              <a:rPr lang="ru-RU" sz="1400" dirty="0">
                <a:solidFill>
                  <a:srgbClr val="002060"/>
                </a:solidFill>
                <a:latin typeface="+mn-lt"/>
              </a:rPr>
              <a:t>000 </a:t>
            </a:r>
            <a:r>
              <a:rPr lang="ru-RU" sz="1400" dirty="0" err="1">
                <a:solidFill>
                  <a:srgbClr val="002060"/>
                </a:solidFill>
                <a:latin typeface="+mn-lt"/>
              </a:rPr>
              <a:t>лв</a:t>
            </a:r>
            <a:r>
              <a:rPr lang="ru-RU" sz="1400" dirty="0">
                <a:solidFill>
                  <a:srgbClr val="002060"/>
                </a:solidFill>
                <a:latin typeface="+mn-lt"/>
              </a:rPr>
              <a:t>. </a:t>
            </a:r>
            <a:endParaRPr lang="ru-RU" sz="1400" dirty="0" smtClean="0">
              <a:solidFill>
                <a:srgbClr val="002060"/>
              </a:solidFill>
              <a:latin typeface="+mn-lt"/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ru-RU" sz="1400" dirty="0">
              <a:solidFill>
                <a:srgbClr val="002060"/>
              </a:solidFill>
              <a:latin typeface="+mn-lt"/>
            </a:endParaRPr>
          </a:p>
          <a:p>
            <a:pPr marL="285750" lvl="1" indent="-285750" defTabSz="912813" eaLnBrk="0" hangingPunct="0">
              <a:lnSpc>
                <a:spcPct val="90000"/>
              </a:lnSpc>
              <a:spcBef>
                <a:spcPct val="20000"/>
              </a:spcBef>
              <a:buBlip>
                <a:blip r:embed="rId8"/>
              </a:buBlip>
              <a:defRPr/>
            </a:pP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+mn-lt"/>
              </a:rPr>
              <a:t>Максимален размер на </a:t>
            </a:r>
            <a:r>
              <a:rPr lang="ru-RU" sz="1400" b="1" dirty="0" err="1">
                <a:solidFill>
                  <a:srgbClr val="002060"/>
                </a:solidFill>
                <a:latin typeface="+mn-lt"/>
              </a:rPr>
              <a:t>помощта</a:t>
            </a:r>
            <a:r>
              <a:rPr lang="ru-RU" sz="1400" b="1" dirty="0">
                <a:solidFill>
                  <a:srgbClr val="002060"/>
                </a:solidFill>
                <a:latin typeface="+mn-lt"/>
              </a:rPr>
              <a:t>:</a:t>
            </a:r>
            <a:r>
              <a:rPr lang="ru-RU" sz="1400" dirty="0">
                <a:solidFill>
                  <a:srgbClr val="002060"/>
                </a:solidFill>
                <a:latin typeface="+mn-lt"/>
              </a:rPr>
              <a:t> 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         391 </a:t>
            </a:r>
            <a:r>
              <a:rPr lang="ru-RU" sz="1400" dirty="0">
                <a:solidFill>
                  <a:srgbClr val="002060"/>
                </a:solidFill>
                <a:latin typeface="+mn-lt"/>
              </a:rPr>
              <a:t>166 </a:t>
            </a:r>
            <a:r>
              <a:rPr lang="ru-RU" sz="1400" dirty="0" err="1">
                <a:solidFill>
                  <a:srgbClr val="002060"/>
                </a:solidFill>
                <a:latin typeface="+mn-lt"/>
              </a:rPr>
              <a:t>лв</a:t>
            </a:r>
            <a:r>
              <a:rPr lang="ru-RU" sz="1400" dirty="0">
                <a:solidFill>
                  <a:srgbClr val="002060"/>
                </a:solidFill>
                <a:latin typeface="+mn-lt"/>
              </a:rPr>
              <a:t>. </a:t>
            </a:r>
            <a:endParaRPr lang="ru-RU" sz="1400" dirty="0" smtClean="0">
              <a:solidFill>
                <a:srgbClr val="002060"/>
              </a:solidFill>
              <a:latin typeface="+mn-lt"/>
            </a:endParaRPr>
          </a:p>
          <a:p>
            <a:pPr marL="285750" lvl="1" indent="-285750" defTabSz="912813" eaLnBrk="0" hangingPunct="0">
              <a:lnSpc>
                <a:spcPct val="90000"/>
              </a:lnSpc>
              <a:spcBef>
                <a:spcPct val="20000"/>
              </a:spcBef>
              <a:buBlip>
                <a:blip r:embed="rId8"/>
              </a:buBlip>
              <a:defRPr/>
            </a:pPr>
            <a:endParaRPr lang="ru-RU" sz="1400" dirty="0" smtClean="0">
              <a:solidFill>
                <a:srgbClr val="002060"/>
              </a:solidFill>
              <a:latin typeface="+mn-lt"/>
            </a:endParaRPr>
          </a:p>
          <a:p>
            <a:pPr marL="285750" lvl="1" indent="-285750" defTabSz="912813" eaLnBrk="0" hangingPunct="0">
              <a:lnSpc>
                <a:spcPct val="90000"/>
              </a:lnSpc>
              <a:spcBef>
                <a:spcPct val="20000"/>
              </a:spcBef>
              <a:buBlip>
                <a:blip r:embed="rId8"/>
              </a:buBlip>
              <a:defRPr/>
            </a:pPr>
            <a:r>
              <a:rPr lang="ru-RU" sz="1400" b="1" dirty="0">
                <a:solidFill>
                  <a:srgbClr val="002060"/>
                </a:solidFill>
                <a:latin typeface="+mn-lt"/>
              </a:rPr>
              <a:t>Дата на </a:t>
            </a:r>
            <a:r>
              <a:rPr lang="ru-RU" sz="1400" b="1" dirty="0" err="1">
                <a:solidFill>
                  <a:srgbClr val="002060"/>
                </a:solidFill>
                <a:latin typeface="+mn-lt"/>
              </a:rPr>
              <a:t>обявяване</a:t>
            </a:r>
            <a:r>
              <a:rPr lang="ru-RU" sz="1400" b="1" dirty="0">
                <a:solidFill>
                  <a:srgbClr val="002060"/>
                </a:solidFill>
                <a:latin typeface="+mn-lt"/>
              </a:rPr>
              <a:t>: </a:t>
            </a:r>
            <a:r>
              <a:rPr lang="ru-RU" sz="1400" dirty="0" err="1" smtClean="0">
                <a:solidFill>
                  <a:srgbClr val="002060"/>
                </a:solidFill>
                <a:latin typeface="+mn-lt"/>
              </a:rPr>
              <a:t>декември</a:t>
            </a:r>
            <a:r>
              <a:rPr lang="ru-RU" sz="1400" dirty="0" smtClean="0">
                <a:solidFill>
                  <a:srgbClr val="002060"/>
                </a:solidFill>
                <a:latin typeface="+mn-lt"/>
              </a:rPr>
              <a:t> </a:t>
            </a:r>
            <a:r>
              <a:rPr lang="ru-RU" sz="1400" dirty="0">
                <a:solidFill>
                  <a:srgbClr val="002060"/>
                </a:solidFill>
                <a:latin typeface="+mn-lt"/>
              </a:rPr>
              <a:t>2017 г.</a:t>
            </a: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ru-RU" sz="1400" dirty="0">
              <a:solidFill>
                <a:srgbClr val="002060"/>
              </a:solidFill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9"/>
              </a:buBlip>
              <a:defRPr/>
            </a:pPr>
            <a:endParaRPr lang="ru-RU" sz="1400" dirty="0" smtClean="0">
              <a:solidFill>
                <a:srgbClr val="000000"/>
              </a:solidFill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9"/>
              </a:buBlip>
              <a:defRPr/>
            </a:pPr>
            <a:endParaRPr lang="ru-RU" sz="1400" dirty="0">
              <a:solidFill>
                <a:srgbClr val="000000"/>
              </a:solidFill>
            </a:endParaRPr>
          </a:p>
          <a:p>
            <a:pPr marL="0" lvl="1" defTabSz="912813" eaLnBrk="0" hangingPunct="0">
              <a:lnSpc>
                <a:spcPct val="90000"/>
              </a:lnSpc>
              <a:spcBef>
                <a:spcPct val="20000"/>
              </a:spcBef>
              <a:defRPr/>
            </a:pPr>
            <a:endParaRPr lang="ru-RU" sz="1400" dirty="0">
              <a:solidFill>
                <a:srgbClr val="000000"/>
              </a:solidFill>
            </a:endParaRPr>
          </a:p>
          <a:p>
            <a:pPr marL="271463" lvl="1" indent="-271463" defTabSz="912813" eaLnBrk="0" hangingPunct="0">
              <a:lnSpc>
                <a:spcPct val="90000"/>
              </a:lnSpc>
              <a:spcBef>
                <a:spcPct val="20000"/>
              </a:spcBef>
              <a:buFontTx/>
              <a:buBlip>
                <a:blip r:embed="rId9"/>
              </a:buBlip>
              <a:defRPr/>
            </a:pPr>
            <a:endParaRPr lang="en-US" sz="140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73051" y="2975963"/>
            <a:ext cx="4289028" cy="576065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90488" tIns="91440" rIns="90488" bIns="91440" anchor="ctr"/>
          <a:lstStyle/>
          <a:p>
            <a:pPr algn="ct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bg-BG" sz="1600" b="1" kern="0" dirty="0" smtClean="0">
                <a:solidFill>
                  <a:srgbClr val="002060"/>
                </a:solidFill>
                <a:latin typeface="+mj-lt"/>
                <a:cs typeface="Arial" pitchFamily="34" charset="0"/>
              </a:rPr>
              <a:t>Допустими кандидати/дейности </a:t>
            </a:r>
            <a:endParaRPr lang="en-US" sz="1600" b="1" kern="0" dirty="0">
              <a:solidFill>
                <a:srgbClr val="002060"/>
              </a:solidFill>
              <a:latin typeface="+mj-lt"/>
              <a:cs typeface="Arial" pitchFamily="34" charset="0"/>
            </a:endParaRPr>
          </a:p>
        </p:txBody>
      </p:sp>
      <p:sp>
        <p:nvSpPr>
          <p:cNvPr id="11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716016" y="2975962"/>
            <a:ext cx="4148585" cy="576067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90488" tIns="91440" rIns="90488" bIns="91440" anchor="ctr"/>
          <a:lstStyle/>
          <a:p>
            <a:pPr algn="ctr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bg-BG" sz="1600" b="1" kern="0" dirty="0" smtClean="0">
                <a:solidFill>
                  <a:srgbClr val="002060"/>
                </a:solidFill>
                <a:latin typeface="+mj-lt"/>
                <a:cs typeface="Arial" pitchFamily="34" charset="0"/>
              </a:rPr>
              <a:t>Допустими разходи </a:t>
            </a:r>
            <a:endParaRPr lang="en-US" sz="1600" b="1" kern="0" dirty="0">
              <a:solidFill>
                <a:srgbClr val="002060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4716016" y="4653136"/>
            <a:ext cx="4148585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headEnd w="lg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033122770"/>
      </p:ext>
    </p:extLst>
  </p:cSld>
  <p:clrMapOvr>
    <a:masterClrMapping/>
  </p:clrMapOvr>
  <p:transition spd="slow">
    <p:strips dir="ru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3656630" y="6314065"/>
            <a:ext cx="1828800" cy="365125"/>
          </a:xfrm>
        </p:spPr>
        <p:txBody>
          <a:bodyPr/>
          <a:lstStyle/>
          <a:p>
            <a:fld id="{6654DDAA-69BB-4BC9-A64E-D633361939AD}" type="slidenum">
              <a:rPr lang="bg-BG" smtClean="0"/>
              <a:pPr/>
              <a:t>22</a:t>
            </a:fld>
            <a:endParaRPr lang="bg-BG" dirty="0"/>
          </a:p>
        </p:txBody>
      </p:sp>
      <p:grpSp>
        <p:nvGrpSpPr>
          <p:cNvPr id="5" name="Group 4"/>
          <p:cNvGrpSpPr/>
          <p:nvPr/>
        </p:nvGrpSpPr>
        <p:grpSpPr>
          <a:xfrm>
            <a:off x="264936" y="908720"/>
            <a:ext cx="8605838" cy="5760639"/>
            <a:chOff x="244475" y="849822"/>
            <a:chExt cx="8605838" cy="5760639"/>
          </a:xfrm>
        </p:grpSpPr>
        <p:sp>
          <p:nvSpPr>
            <p:cNvPr id="6" name="Text Box 6"/>
            <p:cNvSpPr txBox="1">
              <a:spLocks noChangeArrowheads="1"/>
            </p:cNvSpPr>
            <p:nvPr/>
          </p:nvSpPr>
          <p:spPr bwMode="auto">
            <a:xfrm>
              <a:off x="250825" y="1469634"/>
              <a:ext cx="8599488" cy="1001436"/>
            </a:xfrm>
            <a:prstGeom prst="rect">
              <a:avLst/>
            </a:prstGeom>
            <a:noFill/>
            <a:ln w="9525" algn="ctr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/>
            <a:lstStyle>
              <a:lvl1pPr marL="342900" indent="-3429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indent="0" algn="just" eaLnBrk="1" fontAlgn="auto" hangingPunct="1">
                <a:spcBef>
                  <a:spcPct val="35000"/>
                </a:spcBef>
                <a:spcAft>
                  <a:spcPts val="0"/>
                </a:spcAft>
                <a:buClr>
                  <a:srgbClr val="1F497D"/>
                </a:buClr>
                <a:buSzPct val="110000"/>
                <a:defRPr/>
              </a:pPr>
              <a:r>
                <a:rPr lang="ru-RU" sz="1500" b="1" kern="0" dirty="0" err="1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Основна</a:t>
              </a:r>
              <a:r>
                <a:rPr lang="ru-RU" sz="15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 цел:</a:t>
              </a:r>
              <a:r>
                <a:rPr lang="ru-RU" sz="1500" kern="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bg-BG" sz="1500" kern="0" dirty="0" smtClean="0">
                  <a:solidFill>
                    <a:srgbClr val="002060"/>
                  </a:solidFill>
                  <a:latin typeface="+mn-lt"/>
                </a:rPr>
                <a:t>Предоставяне на фокусирана подкрепа на българските предприятия за внедряване на иновации и иновативна инфраструктура за подпомагане на процеса на комерсиализация на нови продукти.</a:t>
              </a:r>
              <a:endParaRPr lang="ru-RU" sz="1500" kern="0" dirty="0" smtClean="0">
                <a:solidFill>
                  <a:srgbClr val="002060"/>
                </a:solidFill>
                <a:latin typeface="+mn-lt"/>
              </a:endParaRPr>
            </a:p>
            <a:p>
              <a:pPr marL="0" indent="0" eaLnBrk="1" fontAlgn="auto" hangingPunct="1">
                <a:spcBef>
                  <a:spcPct val="35000"/>
                </a:spcBef>
                <a:spcAft>
                  <a:spcPts val="0"/>
                </a:spcAft>
                <a:buClr>
                  <a:srgbClr val="1F497D"/>
                </a:buClr>
                <a:buSzPct val="110000"/>
                <a:defRPr/>
              </a:pPr>
              <a:r>
                <a:rPr lang="ru-RU" sz="1500" b="1" kern="0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Бюджет: </a:t>
              </a:r>
              <a:r>
                <a:rPr lang="ru-RU" sz="1500" kern="0" dirty="0" smtClean="0">
                  <a:solidFill>
                    <a:srgbClr val="002060"/>
                  </a:solidFill>
                  <a:latin typeface="+mn-lt"/>
                </a:rPr>
                <a:t>55 млн</a:t>
              </a:r>
              <a:r>
                <a:rPr lang="ru-RU" sz="1500" b="1" kern="0" dirty="0" smtClean="0">
                  <a:solidFill>
                    <a:srgbClr val="002060"/>
                  </a:solidFill>
                  <a:latin typeface="+mn-lt"/>
                </a:rPr>
                <a:t>.</a:t>
              </a:r>
              <a:r>
                <a:rPr lang="ru-RU" sz="1500" kern="0" dirty="0" smtClean="0">
                  <a:solidFill>
                    <a:srgbClr val="002060"/>
                  </a:solidFill>
                  <a:latin typeface="+mn-lt"/>
                </a:rPr>
                <a:t> евро </a:t>
              </a:r>
              <a:r>
                <a:rPr lang="en-US" sz="1500" kern="0" dirty="0" smtClean="0">
                  <a:solidFill>
                    <a:srgbClr val="002060"/>
                  </a:solidFill>
                  <a:latin typeface="+mn-lt"/>
                </a:rPr>
                <a:t>(</a:t>
              </a:r>
              <a:r>
                <a:rPr lang="bg-BG" sz="1500" kern="0" dirty="0" smtClean="0">
                  <a:solidFill>
                    <a:srgbClr val="002060"/>
                  </a:solidFill>
                  <a:latin typeface="+mn-lt"/>
                </a:rPr>
                <a:t>107 </a:t>
              </a:r>
              <a:r>
                <a:rPr lang="bg-BG" sz="1500" kern="0" dirty="0">
                  <a:solidFill>
                    <a:srgbClr val="002060"/>
                  </a:solidFill>
                  <a:latin typeface="+mn-lt"/>
                </a:rPr>
                <a:t>570 650 </a:t>
              </a:r>
              <a:r>
                <a:rPr lang="bg-BG" sz="1500" kern="0" dirty="0" smtClean="0">
                  <a:solidFill>
                    <a:srgbClr val="002060"/>
                  </a:solidFill>
                  <a:latin typeface="+mn-lt"/>
                </a:rPr>
                <a:t>лв</a:t>
              </a:r>
              <a:r>
                <a:rPr lang="bg-BG" sz="1500" kern="0" dirty="0">
                  <a:solidFill>
                    <a:srgbClr val="002060"/>
                  </a:solidFill>
                  <a:latin typeface="+mn-lt"/>
                </a:rPr>
                <a:t>.</a:t>
              </a:r>
              <a:r>
                <a:rPr lang="en-US" sz="1500" kern="0" dirty="0" smtClean="0">
                  <a:solidFill>
                    <a:srgbClr val="002060"/>
                  </a:solidFill>
                  <a:latin typeface="+mn-lt"/>
                </a:rPr>
                <a:t>)</a:t>
              </a:r>
              <a:endParaRPr lang="ru-RU" sz="1500" kern="0" dirty="0" smtClean="0">
                <a:solidFill>
                  <a:srgbClr val="002060"/>
                </a:solidFill>
                <a:latin typeface="+mn-lt"/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44475" y="849822"/>
              <a:ext cx="8599488" cy="634963"/>
            </a:xfrm>
            <a:prstGeom prst="rect">
              <a:avLst/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bg-BG" sz="2000" b="1" kern="0" dirty="0" smtClean="0">
                  <a:solidFill>
                    <a:schemeClr val="bg1"/>
                  </a:solidFill>
                  <a:cs typeface="Arial" pitchFamily="34" charset="0"/>
                </a:rPr>
                <a:t>Процедура „</a:t>
              </a:r>
              <a:r>
                <a:rPr lang="ru-RU" sz="2000" b="1" kern="0" dirty="0" err="1">
                  <a:solidFill>
                    <a:schemeClr val="bg1"/>
                  </a:solidFill>
                  <a:cs typeface="Arial" pitchFamily="34" charset="0"/>
                </a:rPr>
                <a:t>Стимулиране</a:t>
              </a:r>
              <a:r>
                <a:rPr lang="ru-RU" sz="2000" b="1" kern="0" dirty="0">
                  <a:solidFill>
                    <a:schemeClr val="bg1"/>
                  </a:solidFill>
                  <a:cs typeface="Arial" pitchFamily="34" charset="0"/>
                </a:rPr>
                <a:t> </a:t>
              </a:r>
              <a:r>
                <a:rPr lang="ru-RU" sz="2000" b="1" kern="0" dirty="0" err="1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chemeClr val="bg1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cs typeface="Arial" pitchFamily="34" charset="0"/>
                </a:rPr>
                <a:t>внедряването</a:t>
              </a:r>
              <a:r>
                <a:rPr lang="ru-RU" sz="2000" b="1" kern="0" dirty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chemeClr val="bg1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cs typeface="Arial" pitchFamily="34" charset="0"/>
                </a:rPr>
                <a:t> </a:t>
              </a:r>
              <a:r>
                <a:rPr lang="ru-RU" sz="2000" b="1" kern="0" dirty="0">
                  <a:solidFill>
                    <a:schemeClr val="bg1"/>
                  </a:solidFill>
                  <a:cs typeface="Arial" pitchFamily="34" charset="0"/>
                </a:rPr>
                <a:t>на </a:t>
              </a:r>
              <a:r>
                <a:rPr lang="ru-RU" sz="2000" b="1" kern="0" dirty="0" err="1">
                  <a:solidFill>
                    <a:schemeClr val="bg1"/>
                  </a:solidFill>
                  <a:cs typeface="Arial" pitchFamily="34" charset="0"/>
                </a:rPr>
                <a:t>иновации</a:t>
              </a:r>
              <a:r>
                <a:rPr lang="ru-RU" sz="2000" b="1" kern="0" dirty="0">
                  <a:solidFill>
                    <a:schemeClr val="bg1"/>
                  </a:solidFill>
                  <a:cs typeface="Arial" pitchFamily="34" charset="0"/>
                </a:rPr>
                <a:t> в </a:t>
              </a:r>
              <a:r>
                <a:rPr lang="ru-RU" sz="2000" b="1" kern="0" dirty="0" err="1" smtClean="0">
                  <a:solidFill>
                    <a:schemeClr val="bg1"/>
                  </a:solidFill>
                  <a:cs typeface="Arial" pitchFamily="34" charset="0"/>
                </a:rPr>
                <a:t>предприятията</a:t>
              </a:r>
              <a:r>
                <a:rPr lang="bg-BG" sz="2000" b="1" kern="0" dirty="0" smtClean="0">
                  <a:solidFill>
                    <a:schemeClr val="bg1"/>
                  </a:solidFill>
                  <a:cs typeface="Arial" pitchFamily="34" charset="0"/>
                </a:rPr>
                <a:t>“  </a:t>
              </a:r>
              <a:endParaRPr lang="en-US" sz="2000" b="1" kern="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9" name="Rectangle 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73051" y="3226086"/>
              <a:ext cx="4060825" cy="3384375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488" tIns="91440" rIns="90488" bIns="91440"/>
            <a:lstStyle/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bg-BG" sz="1400" b="1" dirty="0" smtClean="0">
                  <a:solidFill>
                    <a:srgbClr val="002060"/>
                  </a:solidFill>
                  <a:latin typeface="+mn-lt"/>
                </a:rPr>
                <a:t>Допустими кандидати: </a:t>
              </a:r>
              <a:r>
                <a:rPr lang="bg-BG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Съществуващи предприятия, които са търговци по смисъла на Търговския закон или Закона за кооперациите или са еквивалентно лице по смисъла на законодателството на държава-членка на ЕИП. </a:t>
              </a:r>
              <a:endParaRPr lang="ru-RU" sz="1400" kern="0" dirty="0">
                <a:solidFill>
                  <a:srgbClr val="002060"/>
                </a:solidFill>
                <a:latin typeface="+mn-lt"/>
                <a:cs typeface="Arial" charset="0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bg-BG" sz="9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bg-BG" sz="1400" b="1" dirty="0" smtClean="0">
                  <a:solidFill>
                    <a:srgbClr val="002060"/>
                  </a:solidFill>
                  <a:latin typeface="+mn-lt"/>
                </a:rPr>
                <a:t>Допустими дейности</a:t>
              </a:r>
              <a:r>
                <a:rPr lang="bg-BG" sz="1400" dirty="0" smtClean="0">
                  <a:solidFill>
                    <a:srgbClr val="002060"/>
                  </a:solidFill>
                  <a:latin typeface="+mn-lt"/>
                </a:rPr>
                <a:t>: </a:t>
              </a: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Придобиване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на 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ДМА,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  <a:cs typeface="Arial" charset="0"/>
                </a:rPr>
                <a:t>необходими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за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внедряване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на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иновацията</a:t>
              </a:r>
              <a:endParaRPr lang="ru-RU" sz="1400" kern="0" dirty="0">
                <a:solidFill>
                  <a:srgbClr val="002060"/>
                </a:solidFill>
                <a:latin typeface="+mn-lt"/>
                <a:cs typeface="Arial" charset="0"/>
              </a:endParaRP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  <a:cs typeface="Arial" charset="0"/>
                </a:rPr>
                <a:t>Придобиване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на ДНА,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необходими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за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внедряване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на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иновацията</a:t>
              </a:r>
              <a:endParaRPr lang="ru-RU" sz="1400" kern="0" dirty="0">
                <a:solidFill>
                  <a:srgbClr val="002060"/>
                </a:solidFill>
                <a:latin typeface="+mn-lt"/>
                <a:cs typeface="Arial" charset="0"/>
              </a:endParaRP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  <a:cs typeface="Arial" charset="0"/>
                </a:rPr>
                <a:t>Консултантски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и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помощни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услуги в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подкрепа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на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иновациите</a:t>
              </a:r>
              <a:endParaRPr lang="ru-RU" sz="1400" kern="0" dirty="0">
                <a:solidFill>
                  <a:srgbClr val="002060"/>
                </a:solidFill>
                <a:latin typeface="+mn-lt"/>
                <a:cs typeface="Arial" charset="0"/>
              </a:endParaRP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  <a:cs typeface="Arial" charset="0"/>
                </a:rPr>
                <a:t>Дейности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за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инвестиционна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подкрепа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за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тематично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фокусирани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лаборатории.</a:t>
              </a:r>
              <a:endParaRPr lang="ru-RU" sz="1400" kern="0" dirty="0">
                <a:solidFill>
                  <a:srgbClr val="002060"/>
                </a:solidFill>
                <a:latin typeface="+mn-lt"/>
                <a:cs typeface="Arial" charset="0"/>
              </a:endParaRP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endParaRPr lang="ru-RU" sz="1400" kern="0" dirty="0">
                <a:solidFill>
                  <a:srgbClr val="002060"/>
                </a:solidFill>
                <a:latin typeface="+mn-lt"/>
                <a:cs typeface="Arial" charset="0"/>
              </a:endParaRP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endParaRPr lang="en-US" sz="1400" kern="0" dirty="0">
                <a:solidFill>
                  <a:srgbClr val="00206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10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760601" y="3226086"/>
              <a:ext cx="4062413" cy="3384375"/>
            </a:xfrm>
            <a:prstGeom prst="rect">
              <a:avLst/>
            </a:prstGeom>
            <a:noFill/>
            <a:ln w="12700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lIns="90488" tIns="91440" rIns="90488" bIns="91440"/>
            <a:lstStyle/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Инвестиционни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разходи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(ДМА и 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ДНА);</a:t>
              </a: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Разходи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за 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услуги;</a:t>
              </a: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Разходи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за 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СМР.</a:t>
              </a: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ru-RU" sz="1400" u="sng" dirty="0" smtClean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ru-RU" sz="1400" u="sng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Минимален размер на </a:t>
              </a:r>
              <a:r>
                <a:rPr lang="ru-RU" sz="1400" b="1" dirty="0" err="1" smtClean="0">
                  <a:solidFill>
                    <a:srgbClr val="002060"/>
                  </a:solidFill>
                  <a:latin typeface="+mn-lt"/>
                </a:rPr>
                <a:t>помощта</a:t>
              </a: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: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100 000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лв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. </a:t>
              </a: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ru-RU" sz="8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Максимален размер на </a:t>
              </a:r>
              <a:r>
                <a:rPr lang="ru-RU" sz="1400" b="1" dirty="0" err="1" smtClean="0">
                  <a:solidFill>
                    <a:srgbClr val="002060"/>
                  </a:solidFill>
                  <a:latin typeface="+mn-lt"/>
                </a:rPr>
                <a:t>помощта</a:t>
              </a: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: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В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зависимост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от 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категорията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 на </a:t>
              </a: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предприятието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- кандидат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:</a:t>
              </a: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-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микро и малки предприятия: 500 000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лв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.</a:t>
              </a: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-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средни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предприятия: 750 000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лв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.</a:t>
              </a: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-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големи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предприятия: 1 000 000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лв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.</a:t>
              </a:r>
              <a:endParaRPr lang="ru-RU" sz="8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800" dirty="0" smtClean="0">
                  <a:solidFill>
                    <a:srgbClr val="002060"/>
                  </a:solidFill>
                  <a:latin typeface="+mn-lt"/>
                </a:rPr>
                <a:t> </a:t>
              </a: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Дата на обявяване: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  <a:cs typeface="Arial" charset="0"/>
                </a:rPr>
                <a:t>декември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 2018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г.</a:t>
              </a: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endParaRPr lang="ru-RU" sz="1400" kern="0" dirty="0">
                <a:solidFill>
                  <a:srgbClr val="002060"/>
                </a:solidFill>
                <a:latin typeface="+mn-lt"/>
                <a:cs typeface="Arial" charset="0"/>
              </a:endParaRP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endParaRPr lang="en-US" sz="1400" kern="0" dirty="0">
                <a:solidFill>
                  <a:srgbClr val="00206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11" name="Rectangle 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44475" y="2787237"/>
              <a:ext cx="4075113" cy="438849"/>
            </a:xfrm>
            <a:prstGeom prst="rect">
              <a:avLst/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bg-BG" sz="1600" b="1" kern="0" dirty="0" smtClean="0">
                  <a:solidFill>
                    <a:schemeClr val="bg1"/>
                  </a:solidFill>
                  <a:latin typeface="+mn-lt"/>
                  <a:cs typeface="Arial" pitchFamily="34" charset="0"/>
                </a:rPr>
                <a:t>Допустими</a:t>
              </a:r>
              <a:r>
                <a:rPr lang="bg-BG" sz="1600" b="1" kern="0" dirty="0" smtClean="0">
                  <a:solidFill>
                    <a:srgbClr val="00206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bg-BG" sz="1600" b="1" kern="0" dirty="0" smtClean="0">
                  <a:solidFill>
                    <a:schemeClr val="bg1"/>
                  </a:solidFill>
                  <a:latin typeface="+mn-lt"/>
                  <a:cs typeface="Arial" pitchFamily="34" charset="0"/>
                </a:rPr>
                <a:t>кандидати/дейности</a:t>
              </a:r>
              <a:r>
                <a:rPr lang="bg-BG" sz="1600" b="1" kern="0" dirty="0" smtClean="0">
                  <a:solidFill>
                    <a:srgbClr val="002060"/>
                  </a:solidFill>
                  <a:latin typeface="+mn-lt"/>
                  <a:cs typeface="Arial" pitchFamily="34" charset="0"/>
                </a:rPr>
                <a:t> </a:t>
              </a:r>
              <a:endParaRPr lang="en-US" sz="1600" b="1" kern="0" dirty="0">
                <a:solidFill>
                  <a:srgbClr val="00206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12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768850" y="2775255"/>
              <a:ext cx="4075113" cy="450831"/>
            </a:xfrm>
            <a:prstGeom prst="rect">
              <a:avLst/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bg-BG" sz="1600" b="1" kern="0" dirty="0" smtClean="0">
                  <a:solidFill>
                    <a:schemeClr val="bg1"/>
                  </a:solidFill>
                  <a:latin typeface="+mn-lt"/>
                  <a:cs typeface="Arial" pitchFamily="34" charset="0"/>
                </a:rPr>
                <a:t>Допустими</a:t>
              </a:r>
              <a:r>
                <a:rPr lang="bg-BG" sz="1600" b="1" kern="0" dirty="0" smtClean="0">
                  <a:solidFill>
                    <a:srgbClr val="00206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bg-BG" sz="1600" b="1" kern="0" dirty="0" smtClean="0">
                  <a:solidFill>
                    <a:schemeClr val="bg1"/>
                  </a:solidFill>
                  <a:latin typeface="+mn-lt"/>
                  <a:cs typeface="Arial" pitchFamily="34" charset="0"/>
                </a:rPr>
                <a:t>разходи</a:t>
              </a:r>
              <a:r>
                <a:rPr lang="bg-BG" sz="1600" b="1" kern="0" dirty="0" smtClean="0">
                  <a:solidFill>
                    <a:srgbClr val="002060"/>
                  </a:solidFill>
                  <a:latin typeface="+mn-lt"/>
                  <a:cs typeface="Arial" pitchFamily="34" charset="0"/>
                </a:rPr>
                <a:t> </a:t>
              </a:r>
              <a:endParaRPr lang="en-US" sz="1600" b="1" kern="0" dirty="0">
                <a:solidFill>
                  <a:srgbClr val="00206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8" name="AutoShap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 rot="10800000">
              <a:off x="2157413" y="2471071"/>
              <a:ext cx="4786312" cy="287337"/>
            </a:xfrm>
            <a:prstGeom prst="triangle">
              <a:avLst>
                <a:gd name="adj" fmla="val 49534"/>
              </a:avLst>
            </a:pr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10800000" vert="eaVert" wrap="none" lIns="90488" tIns="44450" rIns="90488" bIns="44450" anchor="ctr"/>
            <a:lstStyle/>
            <a:p>
              <a:pPr eaLnBrk="0" fontAlgn="auto" hangingPunct="0">
                <a:spcAft>
                  <a:spcPts val="0"/>
                </a:spcAft>
                <a:defRPr/>
              </a:pPr>
              <a:endParaRPr lang="de-DE" sz="1600" b="1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3" name="Title 1"/>
          <p:cNvSpPr>
            <a:spLocks noGrp="1"/>
          </p:cNvSpPr>
          <p:nvPr>
            <p:ph type="title"/>
          </p:nvPr>
        </p:nvSpPr>
        <p:spPr bwMode="auto">
          <a:xfrm>
            <a:off x="214282" y="188640"/>
            <a:ext cx="8462173" cy="576064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</a:pPr>
            <a:r>
              <a:rPr lang="bg-BG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роцедури </a:t>
            </a:r>
            <a:r>
              <a:rPr lang="bg-BG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2018 </a:t>
            </a:r>
            <a:r>
              <a:rPr lang="bg-BG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о ПО 1 „Технологично развитие и иновации“</a:t>
            </a:r>
            <a:br>
              <a:rPr lang="bg-BG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</a:br>
            <a:endParaRPr lang="bg-BG" sz="2400" b="0" dirty="0">
              <a:solidFill>
                <a:srgbClr val="002060"/>
              </a:solidFill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4781062" y="4437112"/>
            <a:ext cx="406241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8449435"/>
      </p:ext>
    </p:extLst>
  </p:cSld>
  <p:clrMapOvr>
    <a:masterClrMapping/>
  </p:clrMapOvr>
  <p:transition>
    <p:strips dir="ru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23</a:t>
            </a:fld>
            <a:endParaRPr lang="bg-BG" dirty="0"/>
          </a:p>
        </p:txBody>
      </p:sp>
      <p:grpSp>
        <p:nvGrpSpPr>
          <p:cNvPr id="5" name="Group 4"/>
          <p:cNvGrpSpPr/>
          <p:nvPr/>
        </p:nvGrpSpPr>
        <p:grpSpPr>
          <a:xfrm>
            <a:off x="285720" y="928670"/>
            <a:ext cx="8605839" cy="5689201"/>
            <a:chOff x="244475" y="921260"/>
            <a:chExt cx="8605839" cy="5689201"/>
          </a:xfrm>
        </p:grpSpPr>
        <p:sp>
          <p:nvSpPr>
            <p:cNvPr id="6" name="Text Box 6"/>
            <p:cNvSpPr txBox="1">
              <a:spLocks noChangeArrowheads="1"/>
            </p:cNvSpPr>
            <p:nvPr/>
          </p:nvSpPr>
          <p:spPr bwMode="auto">
            <a:xfrm>
              <a:off x="244475" y="1564202"/>
              <a:ext cx="8599488" cy="820348"/>
            </a:xfrm>
            <a:prstGeom prst="rect">
              <a:avLst/>
            </a:prstGeom>
            <a:noFill/>
            <a:ln w="9525" algn="ctr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/>
            <a:lstStyle>
              <a:lvl1pPr marL="342900" indent="-3429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indent="0" algn="just" eaLnBrk="1" fontAlgn="auto" hangingPunct="1">
                <a:spcBef>
                  <a:spcPct val="35000"/>
                </a:spcBef>
                <a:spcAft>
                  <a:spcPts val="0"/>
                </a:spcAft>
                <a:buClr>
                  <a:srgbClr val="1F497D"/>
                </a:buClr>
                <a:buSzPct val="110000"/>
                <a:defRPr/>
              </a:pPr>
              <a:r>
                <a:rPr lang="ru-RU" sz="1600" b="1" kern="0" dirty="0" err="1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Основна</a:t>
              </a:r>
              <a:r>
                <a:rPr lang="ru-RU" sz="16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 цел:</a:t>
              </a:r>
              <a:r>
                <a:rPr lang="ru-RU" sz="1600" kern="0" dirty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600" kern="0" dirty="0" err="1" smtClean="0">
                  <a:solidFill>
                    <a:srgbClr val="002060"/>
                  </a:solidFill>
                  <a:latin typeface="+mn-lt"/>
                </a:rPr>
                <a:t>Предоставяне</a:t>
              </a:r>
              <a:r>
                <a:rPr lang="ru-RU" sz="1600" kern="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600" kern="0" dirty="0">
                  <a:solidFill>
                    <a:srgbClr val="002060"/>
                  </a:solidFill>
                  <a:latin typeface="+mn-lt"/>
                </a:rPr>
                <a:t>на </a:t>
              </a:r>
              <a:r>
                <a:rPr lang="ru-RU" sz="1600" kern="0" dirty="0" err="1">
                  <a:solidFill>
                    <a:srgbClr val="002060"/>
                  </a:solidFill>
                  <a:latin typeface="+mn-lt"/>
                </a:rPr>
                <a:t>подкрепа</a:t>
              </a:r>
              <a:r>
                <a:rPr lang="ru-RU" sz="1600" kern="0" dirty="0">
                  <a:solidFill>
                    <a:srgbClr val="002060"/>
                  </a:solidFill>
                  <a:latin typeface="+mn-lt"/>
                </a:rPr>
                <a:t> за </a:t>
              </a:r>
              <a:r>
                <a:rPr lang="ru-RU" sz="1600" kern="0" dirty="0" err="1">
                  <a:solidFill>
                    <a:srgbClr val="002060"/>
                  </a:solidFill>
                  <a:latin typeface="+mn-lt"/>
                </a:rPr>
                <a:t>създаване</a:t>
              </a:r>
              <a:r>
                <a:rPr lang="ru-RU" sz="1600" kern="0" dirty="0">
                  <a:solidFill>
                    <a:srgbClr val="002060"/>
                  </a:solidFill>
                  <a:latin typeface="+mn-lt"/>
                </a:rPr>
                <a:t> и развитие на </a:t>
              </a:r>
              <a:r>
                <a:rPr lang="ru-RU" sz="1600" kern="0" dirty="0" err="1">
                  <a:solidFill>
                    <a:srgbClr val="002060"/>
                  </a:solidFill>
                  <a:latin typeface="+mn-lt"/>
                </a:rPr>
                <a:t>иновационни</a:t>
              </a:r>
              <a:r>
                <a:rPr lang="ru-RU" sz="1600" kern="0" dirty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600" kern="0" dirty="0" err="1">
                  <a:solidFill>
                    <a:srgbClr val="002060"/>
                  </a:solidFill>
                  <a:latin typeface="+mn-lt"/>
                </a:rPr>
                <a:t>клъстери</a:t>
              </a:r>
              <a:r>
                <a:rPr lang="ru-RU" sz="1600" kern="0" dirty="0">
                  <a:solidFill>
                    <a:srgbClr val="002060"/>
                  </a:solidFill>
                  <a:latin typeface="+mn-lt"/>
                </a:rPr>
                <a:t> в </a:t>
              </a:r>
              <a:r>
                <a:rPr lang="ru-RU" sz="1600" kern="0" dirty="0" err="1" smtClean="0">
                  <a:solidFill>
                    <a:srgbClr val="002060"/>
                  </a:solidFill>
                  <a:latin typeface="+mn-lt"/>
                </a:rPr>
                <a:t>България</a:t>
              </a:r>
              <a:r>
                <a:rPr lang="bg-BG" sz="1600" kern="0" dirty="0" smtClean="0">
                  <a:solidFill>
                    <a:srgbClr val="002060"/>
                  </a:solidFill>
                  <a:latin typeface="+mn-lt"/>
                </a:rPr>
                <a:t>.</a:t>
              </a:r>
              <a:endParaRPr lang="ru-RU" sz="1600" kern="0" dirty="0" smtClean="0">
                <a:solidFill>
                  <a:srgbClr val="002060"/>
                </a:solidFill>
                <a:latin typeface="+mn-lt"/>
              </a:endParaRPr>
            </a:p>
            <a:p>
              <a:pPr marL="0" indent="0" eaLnBrk="1" fontAlgn="auto" hangingPunct="1">
                <a:spcBef>
                  <a:spcPct val="35000"/>
                </a:spcBef>
                <a:spcAft>
                  <a:spcPts val="0"/>
                </a:spcAft>
                <a:buClr>
                  <a:srgbClr val="1F497D"/>
                </a:buClr>
                <a:buSzPct val="110000"/>
                <a:defRPr/>
              </a:pPr>
              <a:r>
                <a:rPr lang="ru-RU" sz="1600" b="1" kern="0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Бюджет: </a:t>
              </a:r>
              <a:r>
                <a:rPr lang="ru-RU" sz="16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 </a:t>
              </a:r>
              <a:r>
                <a:rPr lang="ru-RU" sz="1600" kern="0" dirty="0">
                  <a:solidFill>
                    <a:srgbClr val="002060"/>
                  </a:solidFill>
                  <a:latin typeface="+mn-lt"/>
                </a:rPr>
                <a:t>15.3  </a:t>
              </a:r>
              <a:r>
                <a:rPr lang="ru-RU" sz="1600" kern="0" dirty="0" smtClean="0">
                  <a:solidFill>
                    <a:srgbClr val="002060"/>
                  </a:solidFill>
                  <a:latin typeface="+mn-lt"/>
                </a:rPr>
                <a:t>млн</a:t>
              </a:r>
              <a:r>
                <a:rPr lang="ru-RU" sz="1600" b="1" kern="0" dirty="0" smtClean="0">
                  <a:solidFill>
                    <a:srgbClr val="002060"/>
                  </a:solidFill>
                  <a:latin typeface="+mn-lt"/>
                </a:rPr>
                <a:t>.</a:t>
              </a:r>
              <a:r>
                <a:rPr lang="ru-RU" sz="1600" kern="0" dirty="0" smtClean="0">
                  <a:solidFill>
                    <a:srgbClr val="002060"/>
                  </a:solidFill>
                  <a:latin typeface="+mn-lt"/>
                </a:rPr>
                <a:t> евро </a:t>
              </a:r>
              <a:r>
                <a:rPr lang="en-US" sz="1600" kern="0" dirty="0" smtClean="0">
                  <a:solidFill>
                    <a:srgbClr val="002060"/>
                  </a:solidFill>
                  <a:latin typeface="+mn-lt"/>
                </a:rPr>
                <a:t>(</a:t>
              </a:r>
              <a:r>
                <a:rPr lang="bg-BG" sz="1600" kern="0" dirty="0">
                  <a:solidFill>
                    <a:srgbClr val="002060"/>
                  </a:solidFill>
                  <a:latin typeface="+mn-lt"/>
                </a:rPr>
                <a:t> 29 924 199 </a:t>
              </a:r>
              <a:r>
                <a:rPr lang="bg-BG" sz="1600" kern="0" dirty="0" smtClean="0">
                  <a:solidFill>
                    <a:srgbClr val="002060"/>
                  </a:solidFill>
                  <a:latin typeface="+mn-lt"/>
                </a:rPr>
                <a:t>лв</a:t>
              </a:r>
              <a:r>
                <a:rPr lang="bg-BG" sz="1600" kern="0" dirty="0">
                  <a:solidFill>
                    <a:srgbClr val="002060"/>
                  </a:solidFill>
                  <a:latin typeface="+mn-lt"/>
                </a:rPr>
                <a:t>.</a:t>
              </a:r>
              <a:r>
                <a:rPr lang="en-US" sz="1600" kern="0" dirty="0" smtClean="0">
                  <a:solidFill>
                    <a:srgbClr val="002060"/>
                  </a:solidFill>
                  <a:latin typeface="+mn-lt"/>
                </a:rPr>
                <a:t>)</a:t>
              </a:r>
              <a:endParaRPr lang="ru-RU" sz="1600" kern="0" dirty="0" smtClean="0">
                <a:solidFill>
                  <a:srgbClr val="002060"/>
                </a:solidFill>
                <a:latin typeface="+mn-lt"/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44475" y="921260"/>
              <a:ext cx="8599488" cy="634963"/>
            </a:xfrm>
            <a:prstGeom prst="rect">
              <a:avLst/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bg-BG" sz="2000" b="1" kern="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Процедура „</a:t>
              </a:r>
              <a:r>
                <a:rPr lang="bg-BG" sz="2000" b="1" dirty="0">
                  <a:solidFill>
                    <a:schemeClr val="bg1"/>
                  </a:solidFill>
                </a:rPr>
                <a:t>Развитие на иновационни </a:t>
              </a:r>
              <a:r>
                <a:rPr lang="bg-BG" sz="2000" b="1" dirty="0" smtClean="0">
                  <a:solidFill>
                    <a:schemeClr val="bg1"/>
                  </a:solidFill>
                </a:rPr>
                <a:t>клъстери</a:t>
              </a:r>
              <a:r>
                <a:rPr lang="bg-BG" sz="2000" b="1" kern="0" dirty="0" smtClean="0">
                  <a:solidFill>
                    <a:schemeClr val="bg1"/>
                  </a:solidFill>
                  <a:cs typeface="Arial" pitchFamily="34" charset="0"/>
                </a:rPr>
                <a:t>“  </a:t>
              </a:r>
              <a:endParaRPr lang="en-US" sz="2000" b="1" kern="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9" name="Rectangle 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73051" y="3370102"/>
              <a:ext cx="4271168" cy="3240359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488" tIns="91440" rIns="90488" bIns="91440"/>
            <a:lstStyle/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bg-BG" sz="1400" b="1" dirty="0" smtClean="0">
                  <a:solidFill>
                    <a:srgbClr val="002060"/>
                  </a:solidFill>
                  <a:latin typeface="+mn-lt"/>
                </a:rPr>
                <a:t>Допустими кандидати: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Иновационни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клъстери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,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които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са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обединения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- юридически лица или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обединения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,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които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не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представляват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юридически лица</a:t>
              </a: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bg-BG" sz="8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bg-BG" sz="1400" b="1" dirty="0" smtClean="0">
                  <a:solidFill>
                    <a:srgbClr val="002060"/>
                  </a:solidFill>
                  <a:latin typeface="+mn-lt"/>
                </a:rPr>
                <a:t>Допустими дейности</a:t>
              </a:r>
              <a:r>
                <a:rPr lang="bg-BG" sz="1400" dirty="0" smtClean="0">
                  <a:solidFill>
                    <a:srgbClr val="002060"/>
                  </a:solidFill>
                  <a:latin typeface="+mn-lt"/>
                </a:rPr>
                <a:t>: </a:t>
              </a: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Дейност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по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подобряване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сътрудничеството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, обмена на 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информация в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подкрепа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на бизнеса и трансфера на 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технологии;</a:t>
              </a: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Дейност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по маркетинг на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клъстера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с цел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увеличаване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на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участието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на нови 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предприятия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или 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организации; </a:t>
              </a: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Дейност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по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организиране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на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програми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за обучение,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семинари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и конференции в </a:t>
              </a: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подкрепа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на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обмена на знания и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работата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в мрежа, и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транснационално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сътрудничество</a:t>
              </a: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bg-BG" sz="1400" dirty="0" smtClean="0">
                <a:solidFill>
                  <a:srgbClr val="002060"/>
                </a:solidFill>
                <a:latin typeface="+mn-lt"/>
              </a:endParaRP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endParaRPr lang="ru-RU" sz="1400" dirty="0">
                <a:solidFill>
                  <a:srgbClr val="000000"/>
                </a:solidFill>
                <a:latin typeface="+mn-lt"/>
              </a:endParaRP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endParaRPr lang="en-US" sz="1400" b="1" kern="0" dirty="0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10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642245" y="3370103"/>
              <a:ext cx="4180769" cy="3240358"/>
            </a:xfrm>
            <a:prstGeom prst="rect">
              <a:avLst/>
            </a:prstGeom>
            <a:noFill/>
            <a:ln w="12700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lIns="90488" tIns="91440" rIns="90488" bIns="91440"/>
            <a:lstStyle/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Разходи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за ДМА и 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ДНА;</a:t>
              </a: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Разходи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за 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персонал;</a:t>
              </a: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Административни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разходи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(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включително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режийни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разходи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).</a:t>
              </a: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ru-RU" sz="1400" dirty="0" smtClean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Минимален размер на помощта: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200 000 лв. </a:t>
              </a: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Максимален размер на помощта: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500 000 лв. </a:t>
              </a: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Дата на обявяване: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  <a:cs typeface="Arial" charset="0"/>
                </a:rPr>
                <a:t>септември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 2018 г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. </a:t>
              </a: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endParaRPr lang="en-US" sz="1400" kern="0" dirty="0">
                <a:solidFill>
                  <a:srgbClr val="00206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11" name="Rectangle 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8763" y="2794037"/>
              <a:ext cx="4285456" cy="576065"/>
            </a:xfrm>
            <a:prstGeom prst="rect">
              <a:avLst/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bg-BG" sz="1600" b="1" kern="0" dirty="0" smtClean="0">
                  <a:solidFill>
                    <a:schemeClr val="bg1"/>
                  </a:solidFill>
                  <a:latin typeface="+mn-lt"/>
                  <a:cs typeface="Arial" pitchFamily="34" charset="0"/>
                </a:rPr>
                <a:t>Допустими</a:t>
              </a:r>
              <a:r>
                <a:rPr lang="bg-BG" sz="1600" b="1" kern="0" dirty="0" smtClean="0">
                  <a:solidFill>
                    <a:srgbClr val="00206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bg-BG" sz="1600" b="1" kern="0" dirty="0" smtClean="0">
                  <a:solidFill>
                    <a:schemeClr val="bg1"/>
                  </a:solidFill>
                  <a:latin typeface="+mn-lt"/>
                  <a:cs typeface="Arial" pitchFamily="34" charset="0"/>
                </a:rPr>
                <a:t>кандидати/дейности</a:t>
              </a:r>
              <a:r>
                <a:rPr lang="bg-BG" sz="1600" b="1" kern="0" dirty="0" smtClean="0">
                  <a:solidFill>
                    <a:srgbClr val="002060"/>
                  </a:solidFill>
                  <a:latin typeface="+mn-lt"/>
                  <a:cs typeface="Arial" pitchFamily="34" charset="0"/>
                </a:rPr>
                <a:t> </a:t>
              </a:r>
              <a:endParaRPr lang="en-US" sz="1600" b="1" kern="0" dirty="0">
                <a:solidFill>
                  <a:srgbClr val="00206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12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642246" y="2794035"/>
              <a:ext cx="4208068" cy="576067"/>
            </a:xfrm>
            <a:prstGeom prst="rect">
              <a:avLst/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bg-BG" sz="1600" b="1" kern="0" dirty="0" smtClean="0">
                  <a:solidFill>
                    <a:schemeClr val="bg1"/>
                  </a:solidFill>
                  <a:latin typeface="+mn-lt"/>
                  <a:cs typeface="Arial" pitchFamily="34" charset="0"/>
                </a:rPr>
                <a:t>Допустими разходи </a:t>
              </a:r>
              <a:endParaRPr lang="en-US" sz="1600" b="1" kern="0" dirty="0">
                <a:solidFill>
                  <a:schemeClr val="bg1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8" name="AutoShap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 rot="10800000">
              <a:off x="2173301" y="2421458"/>
              <a:ext cx="4786312" cy="287337"/>
            </a:xfrm>
            <a:prstGeom prst="triangle">
              <a:avLst>
                <a:gd name="adj" fmla="val 50000"/>
              </a:avLst>
            </a:pr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10800000" vert="eaVert" wrap="none" lIns="90488" tIns="44450" rIns="90488" bIns="44450" anchor="ctr"/>
            <a:lstStyle/>
            <a:p>
              <a:pPr eaLnBrk="0" fontAlgn="auto" hangingPunct="0">
                <a:spcAft>
                  <a:spcPts val="0"/>
                </a:spcAft>
                <a:defRPr/>
              </a:pPr>
              <a:endParaRPr lang="de-DE" sz="1600" b="1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3" name="Title 1"/>
          <p:cNvSpPr>
            <a:spLocks noGrp="1"/>
          </p:cNvSpPr>
          <p:nvPr>
            <p:ph type="title"/>
          </p:nvPr>
        </p:nvSpPr>
        <p:spPr bwMode="auto">
          <a:xfrm>
            <a:off x="466574" y="116632"/>
            <a:ext cx="8208911" cy="792088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</a:pPr>
            <a:r>
              <a:rPr lang="bg-BG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роцедури </a:t>
            </a:r>
            <a:r>
              <a:rPr lang="bg-BG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2018 </a:t>
            </a:r>
            <a:r>
              <a:rPr lang="bg-BG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о ПО 1 „Технологично развитие и иновации“</a:t>
            </a:r>
            <a:br>
              <a:rPr lang="bg-BG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</a:br>
            <a:endParaRPr lang="bg-BG" sz="1600" kern="0" dirty="0">
              <a:solidFill>
                <a:schemeClr val="accent5">
                  <a:lumMod val="75000"/>
                </a:schemeClr>
              </a:solidFill>
              <a:ea typeface="+mn-ea"/>
              <a:cs typeface="Arial" pitchFamily="34" charset="0"/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4644007" y="4725144"/>
            <a:ext cx="418076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32346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3648396" y="6165304"/>
            <a:ext cx="1828800" cy="365125"/>
          </a:xfrm>
        </p:spPr>
        <p:txBody>
          <a:bodyPr/>
          <a:lstStyle/>
          <a:p>
            <a:fld id="{6654DDAA-69BB-4BC9-A64E-D633361939AD}" type="slidenum">
              <a:rPr lang="bg-BG" smtClean="0"/>
              <a:pPr/>
              <a:t>24</a:t>
            </a:fld>
            <a:endParaRPr lang="bg-BG" dirty="0"/>
          </a:p>
        </p:txBody>
      </p:sp>
      <p:grpSp>
        <p:nvGrpSpPr>
          <p:cNvPr id="5" name="Group 4"/>
          <p:cNvGrpSpPr/>
          <p:nvPr/>
        </p:nvGrpSpPr>
        <p:grpSpPr>
          <a:xfrm>
            <a:off x="263052" y="836712"/>
            <a:ext cx="8599488" cy="5854560"/>
            <a:chOff x="250825" y="639269"/>
            <a:chExt cx="8599488" cy="5854560"/>
          </a:xfrm>
        </p:grpSpPr>
        <p:sp>
          <p:nvSpPr>
            <p:cNvPr id="6" name="Text Box 6"/>
            <p:cNvSpPr txBox="1">
              <a:spLocks noChangeArrowheads="1"/>
            </p:cNvSpPr>
            <p:nvPr/>
          </p:nvSpPr>
          <p:spPr bwMode="auto">
            <a:xfrm>
              <a:off x="250825" y="1469634"/>
              <a:ext cx="8599488" cy="1001436"/>
            </a:xfrm>
            <a:prstGeom prst="rect">
              <a:avLst/>
            </a:prstGeom>
            <a:noFill/>
            <a:ln w="9525" algn="ctr">
              <a:solidFill>
                <a:srgbClr val="000000"/>
              </a:solidFill>
              <a:miter lim="800000"/>
              <a:headEnd/>
              <a:tailEnd/>
            </a:ln>
            <a:extLst/>
          </p:spPr>
          <p:txBody>
            <a:bodyPr/>
            <a:lstStyle>
              <a:lvl1pPr marL="342900" indent="-3429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445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indent="0" algn="just" eaLnBrk="1" fontAlgn="auto" hangingPunct="1">
                <a:spcBef>
                  <a:spcPct val="35000"/>
                </a:spcBef>
                <a:spcAft>
                  <a:spcPts val="0"/>
                </a:spcAft>
                <a:buClr>
                  <a:srgbClr val="1F497D"/>
                </a:buClr>
                <a:buSzPct val="110000"/>
                <a:defRPr/>
              </a:pPr>
              <a:r>
                <a:rPr lang="ru-RU" sz="1500" b="1" kern="0" dirty="0" err="1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Основна</a:t>
              </a:r>
              <a:r>
                <a:rPr lang="ru-RU" sz="15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 </a:t>
              </a:r>
              <a:r>
                <a:rPr lang="ru-RU" sz="1500" b="1" kern="0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цел</a:t>
              </a:r>
              <a:r>
                <a:rPr lang="ru-RU" sz="15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: </a:t>
              </a:r>
              <a:r>
                <a:rPr lang="ru-RU" sz="1500" kern="0" dirty="0" err="1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Подобряване</a:t>
              </a:r>
              <a:r>
                <a:rPr lang="ru-RU" sz="1500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 </a:t>
              </a:r>
              <a:r>
                <a:rPr lang="ru-RU" sz="1500" kern="0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на </a:t>
              </a:r>
              <a:r>
                <a:rPr lang="ru-RU" sz="1500" kern="0" dirty="0" err="1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производствените</a:t>
              </a:r>
              <a:r>
                <a:rPr lang="ru-RU" sz="1500" kern="0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 </a:t>
              </a:r>
              <a:r>
                <a:rPr lang="ru-RU" sz="1500" kern="0" dirty="0" err="1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процеси</a:t>
              </a:r>
              <a:r>
                <a:rPr lang="ru-RU" sz="1500" kern="0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, </a:t>
              </a:r>
              <a:r>
                <a:rPr lang="ru-RU" sz="1500" kern="0" dirty="0" err="1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повишаване</a:t>
              </a:r>
              <a:r>
                <a:rPr lang="ru-RU" sz="1500" kern="0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 на </a:t>
              </a:r>
              <a:r>
                <a:rPr lang="ru-RU" sz="1500" kern="0" dirty="0" err="1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производствения</a:t>
              </a:r>
              <a:r>
                <a:rPr lang="ru-RU" sz="1500" kern="0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 </a:t>
              </a:r>
              <a:r>
                <a:rPr lang="ru-RU" sz="1500" kern="0" dirty="0" err="1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капацитет</a:t>
              </a:r>
              <a:r>
                <a:rPr lang="ru-RU" sz="1500" kern="0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 и </a:t>
              </a:r>
              <a:r>
                <a:rPr lang="ru-RU" sz="1500" kern="0" dirty="0" err="1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капацитета</a:t>
              </a:r>
              <a:r>
                <a:rPr lang="ru-RU" sz="1500" kern="0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 за управление с цел </a:t>
              </a:r>
              <a:r>
                <a:rPr lang="ru-RU" sz="1500" kern="0" dirty="0" err="1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засилване</a:t>
              </a:r>
              <a:r>
                <a:rPr lang="ru-RU" sz="1500" kern="0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 на </a:t>
              </a:r>
              <a:r>
                <a:rPr lang="ru-RU" sz="1500" kern="0" dirty="0" err="1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експортния</a:t>
              </a:r>
              <a:r>
                <a:rPr lang="ru-RU" sz="1500" kern="0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 потенциал на </a:t>
              </a:r>
              <a:r>
                <a:rPr lang="ru-RU" sz="1500" kern="0" dirty="0" err="1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предприятията</a:t>
              </a:r>
              <a:r>
                <a:rPr lang="ru-RU" sz="1500" kern="0" dirty="0" smtClean="0">
                  <a:solidFill>
                    <a:srgbClr val="002060"/>
                  </a:solidFill>
                  <a:latin typeface="+mn-lt"/>
                </a:rPr>
                <a:t> </a:t>
              </a:r>
            </a:p>
            <a:p>
              <a:pPr marL="0" indent="0" eaLnBrk="1" fontAlgn="auto" hangingPunct="1">
                <a:spcBef>
                  <a:spcPct val="35000"/>
                </a:spcBef>
                <a:spcAft>
                  <a:spcPts val="0"/>
                </a:spcAft>
                <a:buClr>
                  <a:srgbClr val="1F497D"/>
                </a:buClr>
                <a:buSzPct val="110000"/>
                <a:defRPr/>
              </a:pPr>
              <a:r>
                <a:rPr lang="ru-RU" sz="1500" b="1" kern="0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Бюджет: </a:t>
              </a:r>
              <a:r>
                <a:rPr lang="ru-RU" sz="1500" b="1" kern="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n-lt"/>
                </a:rPr>
                <a:t> </a:t>
              </a:r>
              <a:r>
                <a:rPr lang="ru-RU" sz="1500" kern="0" dirty="0" smtClean="0">
                  <a:solidFill>
                    <a:srgbClr val="002060"/>
                  </a:solidFill>
                  <a:latin typeface="+mn-lt"/>
                </a:rPr>
                <a:t>77 млн</a:t>
              </a:r>
              <a:r>
                <a:rPr lang="ru-RU" sz="1500" b="1" kern="0" dirty="0" smtClean="0">
                  <a:solidFill>
                    <a:srgbClr val="002060"/>
                  </a:solidFill>
                  <a:latin typeface="+mn-lt"/>
                </a:rPr>
                <a:t>.</a:t>
              </a:r>
              <a:r>
                <a:rPr lang="ru-RU" sz="1500" kern="0" dirty="0" smtClean="0">
                  <a:solidFill>
                    <a:srgbClr val="002060"/>
                  </a:solidFill>
                  <a:latin typeface="+mn-lt"/>
                </a:rPr>
                <a:t> евро </a:t>
              </a:r>
              <a:r>
                <a:rPr lang="en-US" sz="1500" kern="0" dirty="0" smtClean="0">
                  <a:solidFill>
                    <a:srgbClr val="002060"/>
                  </a:solidFill>
                  <a:latin typeface="+mn-lt"/>
                </a:rPr>
                <a:t>(</a:t>
              </a:r>
              <a:r>
                <a:rPr lang="bg-BG" sz="1500" kern="0" dirty="0">
                  <a:solidFill>
                    <a:srgbClr val="002060"/>
                  </a:solidFill>
                  <a:latin typeface="+mn-lt"/>
                </a:rPr>
                <a:t>150 598 910 </a:t>
              </a:r>
              <a:r>
                <a:rPr lang="bg-BG" sz="1500" kern="0" dirty="0" smtClean="0">
                  <a:solidFill>
                    <a:srgbClr val="002060"/>
                  </a:solidFill>
                  <a:latin typeface="+mn-lt"/>
                </a:rPr>
                <a:t>лв</a:t>
              </a:r>
              <a:r>
                <a:rPr lang="bg-BG" sz="1500" kern="0" dirty="0">
                  <a:solidFill>
                    <a:srgbClr val="002060"/>
                  </a:solidFill>
                  <a:latin typeface="+mn-lt"/>
                </a:rPr>
                <a:t>.</a:t>
              </a:r>
              <a:r>
                <a:rPr lang="en-US" sz="1500" kern="0" dirty="0" smtClean="0">
                  <a:solidFill>
                    <a:srgbClr val="002060"/>
                  </a:solidFill>
                  <a:latin typeface="+mn-lt"/>
                </a:rPr>
                <a:t>)</a:t>
              </a:r>
              <a:endParaRPr lang="ru-RU" sz="1500" kern="0" dirty="0" smtClean="0">
                <a:solidFill>
                  <a:srgbClr val="002060"/>
                </a:solidFill>
                <a:latin typeface="+mn-lt"/>
              </a:endParaRPr>
            </a:p>
          </p:txBody>
        </p:sp>
        <p:sp>
          <p:nvSpPr>
            <p:cNvPr id="7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50825" y="639269"/>
              <a:ext cx="8599487" cy="830366"/>
            </a:xfrm>
            <a:prstGeom prst="rect">
              <a:avLst/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bg-BG" sz="2000" b="1" kern="0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Процедура „</a:t>
              </a:r>
              <a:r>
                <a:rPr lang="ru-RU" sz="2000" b="1" dirty="0" err="1">
                  <a:solidFill>
                    <a:schemeClr val="bg1"/>
                  </a:solidFill>
                </a:rPr>
                <a:t>Подобряване</a:t>
              </a:r>
              <a:r>
                <a:rPr lang="ru-RU" sz="2000" b="1" dirty="0">
                  <a:solidFill>
                    <a:schemeClr val="bg1"/>
                  </a:solidFill>
                </a:rPr>
                <a:t> на </a:t>
              </a:r>
              <a:r>
                <a:rPr lang="ru-RU" sz="2000" b="1" dirty="0" err="1">
                  <a:solidFill>
                    <a:schemeClr val="bg1"/>
                  </a:solidFill>
                </a:rPr>
                <a:t>производствения</a:t>
              </a:r>
              <a:r>
                <a:rPr lang="ru-RU" sz="2000" b="1" dirty="0">
                  <a:solidFill>
                    <a:schemeClr val="bg1"/>
                  </a:solidFill>
                </a:rPr>
                <a:t> </a:t>
              </a:r>
              <a:r>
                <a:rPr lang="ru-RU" sz="2000" b="1" dirty="0" err="1">
                  <a:solidFill>
                    <a:schemeClr val="bg1"/>
                  </a:solidFill>
                </a:rPr>
                <a:t>капацитет</a:t>
              </a:r>
              <a:r>
                <a:rPr lang="ru-RU" sz="2000" b="1" dirty="0">
                  <a:solidFill>
                    <a:schemeClr val="bg1"/>
                  </a:solidFill>
                </a:rPr>
                <a:t> и развитие на </a:t>
              </a:r>
              <a:r>
                <a:rPr lang="ru-RU" sz="2000" b="1" dirty="0" err="1">
                  <a:solidFill>
                    <a:schemeClr val="bg1"/>
                  </a:solidFill>
                </a:rPr>
                <a:t>специализирани</a:t>
              </a:r>
              <a:r>
                <a:rPr lang="ru-RU" sz="2000" b="1" dirty="0">
                  <a:solidFill>
                    <a:schemeClr val="bg1"/>
                  </a:solidFill>
                </a:rPr>
                <a:t> услуги за МСП и </a:t>
              </a:r>
              <a:r>
                <a:rPr lang="ru-RU" sz="2000" b="1" dirty="0" smtClean="0">
                  <a:solidFill>
                    <a:schemeClr val="bg1"/>
                  </a:solidFill>
                </a:rPr>
                <a:t>ИКТ</a:t>
              </a:r>
              <a:r>
                <a:rPr lang="bg-BG" sz="2000" b="1" kern="0" dirty="0" smtClean="0">
                  <a:solidFill>
                    <a:schemeClr val="bg1"/>
                  </a:solidFill>
                  <a:cs typeface="Arial" pitchFamily="34" charset="0"/>
                </a:rPr>
                <a:t>“  </a:t>
              </a:r>
              <a:endParaRPr lang="en-US" sz="2000" b="1" kern="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9" name="Rectangle 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73051" y="3370102"/>
              <a:ext cx="4060825" cy="3123727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488" tIns="91440" rIns="90488" bIns="91440"/>
            <a:lstStyle/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bg-BG" sz="1400" b="1" dirty="0" smtClean="0">
                  <a:solidFill>
                    <a:srgbClr val="002060"/>
                  </a:solidFill>
                  <a:latin typeface="+mn-lt"/>
                </a:rPr>
                <a:t>Допустими кандидати: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Съществуващи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МСП, </a:t>
              </a:r>
              <a:endParaRPr lang="ru-RU" sz="1400" kern="0" dirty="0">
                <a:solidFill>
                  <a:srgbClr val="002060"/>
                </a:solidFill>
                <a:latin typeface="+mn-lt"/>
                <a:cs typeface="Arial" charset="0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които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са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  <a:cs typeface="Arial" charset="0"/>
                </a:rPr>
                <a:t>търговци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по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  <a:cs typeface="Arial" charset="0"/>
                </a:rPr>
                <a:t>смисъла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на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  <a:cs typeface="Arial" charset="0"/>
                </a:rPr>
                <a:t>Търговския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закон или 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Закона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за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  <a:cs typeface="Arial" charset="0"/>
                </a:rPr>
                <a:t>кооперациите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 или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са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  <a:cs typeface="Arial" charset="0"/>
                </a:rPr>
                <a:t>еквивалентно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 лице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по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  <a:cs typeface="Arial" charset="0"/>
                </a:rPr>
                <a:t>смисъла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на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  <a:cs typeface="Arial" charset="0"/>
                </a:rPr>
                <a:t>законодателството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на </a:t>
              </a:r>
              <a:r>
                <a:rPr lang="ru-RU" sz="1400" kern="0" dirty="0" err="1" smtClean="0">
                  <a:solidFill>
                    <a:srgbClr val="002060"/>
                  </a:solidFill>
                  <a:latin typeface="+mn-lt"/>
                  <a:cs typeface="Arial" charset="0"/>
                </a:rPr>
                <a:t>държава-членка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 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на </a:t>
              </a:r>
              <a:r>
                <a:rPr lang="ru-RU" sz="1400" kern="0" dirty="0" smtClean="0">
                  <a:solidFill>
                    <a:srgbClr val="002060"/>
                  </a:solidFill>
                  <a:latin typeface="+mn-lt"/>
                  <a:cs typeface="Arial" charset="0"/>
                </a:rPr>
                <a:t>ЕИП</a:t>
              </a:r>
              <a:endParaRPr lang="ru-RU" sz="1400" kern="0" dirty="0">
                <a:solidFill>
                  <a:srgbClr val="002060"/>
                </a:solidFill>
                <a:latin typeface="+mn-lt"/>
                <a:cs typeface="Arial" charset="0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bg-BG" sz="800" b="1" dirty="0" smtClean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bg-BG" sz="1400" b="1" dirty="0" smtClean="0">
                  <a:solidFill>
                    <a:srgbClr val="002060"/>
                  </a:solidFill>
                  <a:latin typeface="+mn-lt"/>
                </a:rPr>
                <a:t>Допустими дейности</a:t>
              </a:r>
              <a:r>
                <a:rPr lang="bg-BG" sz="1400" dirty="0" smtClean="0">
                  <a:solidFill>
                    <a:srgbClr val="002060"/>
                  </a:solidFill>
                  <a:latin typeface="+mn-lt"/>
                </a:rPr>
                <a:t>: </a:t>
              </a: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Придобиване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на ДМА</a:t>
              </a: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Придобиване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на ДНА</a:t>
              </a: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Разработване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,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внедряване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и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сертифициране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на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системи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за управление на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качеството</a:t>
              </a:r>
              <a:endParaRPr lang="ru-RU" sz="1400" kern="0" dirty="0">
                <a:solidFill>
                  <a:srgbClr val="002060"/>
                </a:solidFill>
                <a:latin typeface="+mn-lt"/>
                <a:cs typeface="Arial" charset="0"/>
              </a:endParaRP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Разработване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и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въвеждане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на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базирани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на ИКТ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системи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и приложения за управление на бизнеса</a:t>
              </a: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endParaRPr lang="ru-RU" sz="1400" dirty="0">
                <a:solidFill>
                  <a:srgbClr val="000000"/>
                </a:solidFill>
                <a:latin typeface="+mn-lt"/>
              </a:endParaRP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endParaRPr lang="en-US" sz="1400" b="1" kern="0" dirty="0">
                <a:solidFill>
                  <a:srgbClr val="00000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10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760601" y="3370103"/>
              <a:ext cx="4062413" cy="3123726"/>
            </a:xfrm>
            <a:prstGeom prst="rect">
              <a:avLst/>
            </a:prstGeom>
            <a:noFill/>
            <a:ln w="12700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lIns="90488" tIns="91440" rIns="90488" bIns="91440"/>
            <a:lstStyle/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Инвестиционни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разходи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 (ДМА и 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ДНА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)</a:t>
              </a:r>
            </a:p>
            <a:p>
              <a:pPr marL="285750" lvl="1" indent="-285750" defTabSz="912813" eaLnBrk="0" hangingPunct="0">
                <a:lnSpc>
                  <a:spcPct val="90000"/>
                </a:lnSpc>
                <a:spcBef>
                  <a:spcPct val="20000"/>
                </a:spcBef>
                <a:buBlip>
                  <a:blip r:embed="rId8"/>
                </a:buBlip>
                <a:defRPr/>
              </a:pP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Разходи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за услуги</a:t>
              </a: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Минимален размер на </a:t>
              </a:r>
              <a:r>
                <a:rPr lang="ru-RU" sz="1400" b="1" dirty="0" err="1" smtClean="0">
                  <a:solidFill>
                    <a:srgbClr val="002060"/>
                  </a:solidFill>
                  <a:latin typeface="+mn-lt"/>
                </a:rPr>
                <a:t>помощта</a:t>
              </a: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: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100 000 </a:t>
              </a:r>
              <a:r>
                <a:rPr lang="ru-RU" sz="1400" dirty="0" err="1">
                  <a:solidFill>
                    <a:srgbClr val="002060"/>
                  </a:solidFill>
                  <a:latin typeface="+mn-lt"/>
                </a:rPr>
                <a:t>лв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. </a:t>
              </a: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Максимален размер на </a:t>
              </a:r>
              <a:r>
                <a:rPr lang="ru-RU" sz="1400" b="1" dirty="0" err="1" smtClean="0">
                  <a:solidFill>
                    <a:srgbClr val="002060"/>
                  </a:solidFill>
                  <a:latin typeface="+mn-lt"/>
                </a:rPr>
                <a:t>помощта</a:t>
              </a: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: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 </a:t>
              </a:r>
              <a:r>
                <a:rPr lang="ru-RU" sz="1400" dirty="0">
                  <a:solidFill>
                    <a:srgbClr val="002060"/>
                  </a:solidFill>
                  <a:latin typeface="+mn-lt"/>
                </a:rPr>
                <a:t>1 000 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000 </a:t>
              </a:r>
              <a:r>
                <a:rPr lang="ru-RU" sz="1400" dirty="0" err="1" smtClean="0">
                  <a:solidFill>
                    <a:srgbClr val="002060"/>
                  </a:solidFill>
                  <a:latin typeface="+mn-lt"/>
                </a:rPr>
                <a:t>лв</a:t>
              </a:r>
              <a:r>
                <a:rPr lang="ru-RU" sz="1400" dirty="0" smtClean="0">
                  <a:solidFill>
                    <a:srgbClr val="002060"/>
                  </a:solidFill>
                  <a:latin typeface="+mn-lt"/>
                </a:rPr>
                <a:t>. </a:t>
              </a: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endParaRPr lang="ru-RU" sz="1400" dirty="0">
                <a:solidFill>
                  <a:srgbClr val="002060"/>
                </a:solidFill>
                <a:latin typeface="+mn-lt"/>
              </a:endParaRPr>
            </a:p>
            <a:p>
              <a:pPr marL="0" lvl="1" defTabSz="912813" eaLnBrk="0" hangingPunct="0">
                <a:lnSpc>
                  <a:spcPct val="90000"/>
                </a:lnSpc>
                <a:spcBef>
                  <a:spcPct val="20000"/>
                </a:spcBef>
                <a:defRPr/>
              </a:pP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Дата на </a:t>
              </a:r>
              <a:r>
                <a:rPr lang="ru-RU" sz="1400" b="1" dirty="0" err="1" smtClean="0">
                  <a:solidFill>
                    <a:srgbClr val="002060"/>
                  </a:solidFill>
                  <a:latin typeface="+mn-lt"/>
                </a:rPr>
                <a:t>обявяване</a:t>
              </a:r>
              <a:r>
                <a:rPr lang="ru-RU" sz="1400" b="1" dirty="0" smtClean="0">
                  <a:solidFill>
                    <a:srgbClr val="002060"/>
                  </a:solidFill>
                  <a:latin typeface="+mn-lt"/>
                </a:rPr>
                <a:t>:  </a:t>
              </a:r>
              <a:r>
                <a:rPr lang="ru-RU" sz="1400" kern="0" dirty="0" err="1">
                  <a:solidFill>
                    <a:srgbClr val="002060"/>
                  </a:solidFill>
                  <a:latin typeface="+mn-lt"/>
                  <a:cs typeface="Arial" charset="0"/>
                </a:rPr>
                <a:t>Април</a:t>
              </a:r>
              <a:r>
                <a:rPr lang="ru-RU" sz="1400" kern="0" dirty="0">
                  <a:solidFill>
                    <a:srgbClr val="002060"/>
                  </a:solidFill>
                  <a:latin typeface="+mn-lt"/>
                  <a:cs typeface="Arial" charset="0"/>
                </a:rPr>
                <a:t>  2018 г.  </a:t>
              </a:r>
            </a:p>
            <a:p>
              <a:pPr marL="271463" lvl="1" indent="-271463" defTabSz="912813" eaLnBrk="0" hangingPunct="0">
                <a:lnSpc>
                  <a:spcPct val="90000"/>
                </a:lnSpc>
                <a:spcBef>
                  <a:spcPct val="20000"/>
                </a:spcBef>
                <a:buFontTx/>
                <a:buBlip>
                  <a:blip r:embed="rId9"/>
                </a:buBlip>
                <a:defRPr/>
              </a:pPr>
              <a:endParaRPr lang="en-US" sz="1400" kern="0" dirty="0">
                <a:solidFill>
                  <a:srgbClr val="00206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11" name="Rectangle 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8763" y="2794037"/>
              <a:ext cx="4075113" cy="576065"/>
            </a:xfrm>
            <a:prstGeom prst="rect">
              <a:avLst/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bg-BG" sz="1600" b="1" kern="0" dirty="0" smtClean="0">
                  <a:solidFill>
                    <a:schemeClr val="bg1"/>
                  </a:solidFill>
                  <a:latin typeface="+mn-lt"/>
                  <a:cs typeface="Arial" pitchFamily="34" charset="0"/>
                </a:rPr>
                <a:t>Допустими</a:t>
              </a:r>
              <a:r>
                <a:rPr lang="bg-BG" sz="1600" b="1" kern="0" dirty="0" smtClean="0">
                  <a:solidFill>
                    <a:srgbClr val="002060"/>
                  </a:solidFill>
                  <a:latin typeface="+mn-lt"/>
                  <a:cs typeface="Arial" pitchFamily="34" charset="0"/>
                </a:rPr>
                <a:t> </a:t>
              </a:r>
              <a:r>
                <a:rPr lang="bg-BG" sz="1600" b="1" kern="0" dirty="0" smtClean="0">
                  <a:solidFill>
                    <a:schemeClr val="bg1"/>
                  </a:solidFill>
                  <a:latin typeface="+mn-lt"/>
                  <a:cs typeface="Arial" pitchFamily="34" charset="0"/>
                </a:rPr>
                <a:t>кандидати/дейности</a:t>
              </a:r>
              <a:r>
                <a:rPr lang="bg-BG" sz="1600" b="1" kern="0" dirty="0" smtClean="0">
                  <a:solidFill>
                    <a:srgbClr val="002060"/>
                  </a:solidFill>
                  <a:latin typeface="+mn-lt"/>
                  <a:cs typeface="Arial" pitchFamily="34" charset="0"/>
                </a:rPr>
                <a:t> </a:t>
              </a:r>
              <a:endParaRPr lang="en-US" sz="1600" b="1" kern="0" dirty="0">
                <a:solidFill>
                  <a:srgbClr val="002060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12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760601" y="2794035"/>
              <a:ext cx="4062414" cy="576067"/>
            </a:xfrm>
            <a:prstGeom prst="rect">
              <a:avLst/>
            </a:prstGeom>
            <a:ln>
              <a:headEnd/>
              <a:tailEnd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lIns="90488" tIns="91440" rIns="90488" bIns="91440" anchor="ctr"/>
            <a:lstStyle/>
            <a:p>
              <a:pPr algn="ctr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bg-BG" sz="1600" b="1" kern="0" dirty="0" smtClean="0">
                  <a:solidFill>
                    <a:schemeClr val="bg1"/>
                  </a:solidFill>
                  <a:latin typeface="+mn-lt"/>
                  <a:cs typeface="Arial" pitchFamily="34" charset="0"/>
                </a:rPr>
                <a:t>Допустими разходи </a:t>
              </a:r>
              <a:endParaRPr lang="en-US" sz="1600" b="1" kern="0" dirty="0">
                <a:solidFill>
                  <a:schemeClr val="bg1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8" name="AutoShap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 rot="10800000">
              <a:off x="2157413" y="2471071"/>
              <a:ext cx="4786312" cy="287337"/>
            </a:xfrm>
            <a:prstGeom prst="triangle">
              <a:avLst>
                <a:gd name="adj" fmla="val 50000"/>
              </a:avLst>
            </a:pr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ot="10800000" vert="eaVert" wrap="none" lIns="90488" tIns="44450" rIns="90488" bIns="44450" anchor="ctr"/>
            <a:lstStyle/>
            <a:p>
              <a:pPr eaLnBrk="0" fontAlgn="auto" hangingPunct="0">
                <a:spcAft>
                  <a:spcPts val="0"/>
                </a:spcAft>
                <a:defRPr/>
              </a:pPr>
              <a:endParaRPr lang="de-DE" sz="1600" b="1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3" name="Title 1"/>
          <p:cNvSpPr>
            <a:spLocks noGrp="1"/>
          </p:cNvSpPr>
          <p:nvPr>
            <p:ph type="title"/>
          </p:nvPr>
        </p:nvSpPr>
        <p:spPr bwMode="auto">
          <a:xfrm>
            <a:off x="500034" y="0"/>
            <a:ext cx="8208911" cy="648072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</a:pPr>
            <a:r>
              <a:rPr lang="bg-BG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роцедури </a:t>
            </a:r>
            <a:r>
              <a:rPr lang="bg-BG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2018 </a:t>
            </a:r>
            <a:r>
              <a:rPr lang="bg-BG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о ПО </a:t>
            </a:r>
            <a:r>
              <a:rPr lang="bg-BG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2 „</a:t>
            </a:r>
            <a:r>
              <a:rPr lang="ru-RU" sz="2400" dirty="0" err="1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редприемачество</a:t>
            </a:r>
            <a:r>
              <a:rPr lang="ru-RU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и </a:t>
            </a:r>
            <a:r>
              <a:rPr lang="ru-RU" sz="2400" dirty="0" err="1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капацитет</a:t>
            </a:r>
            <a:r>
              <a:rPr lang="ru-RU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за </a:t>
            </a:r>
            <a:r>
              <a:rPr lang="ru-RU" sz="2400" dirty="0" err="1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растеж</a:t>
            </a:r>
            <a:r>
              <a:rPr lang="ru-RU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на МСП</a:t>
            </a:r>
            <a:r>
              <a:rPr lang="bg-BG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“</a:t>
            </a:r>
            <a:r>
              <a:rPr lang="bg-BG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bg-BG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</a:br>
            <a:endParaRPr lang="bg-BG" sz="2400" dirty="0">
              <a:solidFill>
                <a:srgbClr val="002060"/>
              </a:solidFill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4772828" y="4293096"/>
            <a:ext cx="406241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956124"/>
      </p:ext>
    </p:extLst>
  </p:cSld>
  <p:clrMapOvr>
    <a:masterClrMapping/>
  </p:clrMapOvr>
  <p:transition>
    <p:strips dir="ru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2627784" y="6381328"/>
            <a:ext cx="4147806" cy="404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i="1" dirty="0">
              <a:solidFill>
                <a:srgbClr val="000000"/>
              </a:solidFill>
            </a:endParaRPr>
          </a:p>
        </p:txBody>
      </p:sp>
      <p:sp>
        <p:nvSpPr>
          <p:cNvPr id="11266" name="Title 3"/>
          <p:cNvSpPr>
            <a:spLocks noGrp="1"/>
          </p:cNvSpPr>
          <p:nvPr>
            <p:ph type="title"/>
          </p:nvPr>
        </p:nvSpPr>
        <p:spPr bwMode="auto">
          <a:xfrm>
            <a:off x="0" y="0"/>
            <a:ext cx="9144000" cy="90872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  <a:defRPr/>
            </a:pPr>
            <a:r>
              <a:rPr lang="bg-BG" sz="22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роцедури</a:t>
            </a:r>
            <a:r>
              <a:rPr lang="ru-RU" sz="22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2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2017 </a:t>
            </a:r>
            <a:r>
              <a:rPr lang="bg-BG" sz="22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bg-BG" sz="22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– директно предоставяне</a:t>
            </a:r>
            <a:r>
              <a:rPr lang="ru-RU" sz="2200" dirty="0">
                <a:solidFill>
                  <a:srgbClr val="00206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endParaRPr lang="bg-BG" sz="2200" dirty="0">
              <a:solidFill>
                <a:srgbClr val="00206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4423563"/>
              </p:ext>
            </p:extLst>
          </p:nvPr>
        </p:nvGraphicFramePr>
        <p:xfrm>
          <a:off x="14003" y="1199740"/>
          <a:ext cx="9143999" cy="5852123"/>
        </p:xfrm>
        <a:graphic>
          <a:graphicData uri="http://schemas.openxmlformats.org/drawingml/2006/table">
            <a:tbl>
              <a:tblPr>
                <a:effectLst>
                  <a:innerShdw blurRad="114300">
                    <a:prstClr val="black"/>
                  </a:innerShdw>
                </a:effectLst>
              </a:tblPr>
              <a:tblGrid>
                <a:gridCol w="252345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7728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07196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7129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7988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Наименование на процедурата 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A22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Бюджет 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A22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опустими кандидати и дейности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A22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ата на обявяване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A22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49777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„</a:t>
                      </a:r>
                      <a:r>
                        <a:rPr kumimoji="0" lang="ru-RU" sz="15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Подкрепа</a:t>
                      </a:r>
                      <a:r>
                        <a:rPr kumimoji="0" lang="ru-RU" sz="15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за </a:t>
                      </a:r>
                      <a:r>
                        <a:rPr kumimoji="0" lang="ru-RU" sz="15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растеж</a:t>
                      </a:r>
                      <a:r>
                        <a:rPr kumimoji="0" lang="ru-RU" sz="15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на МСП чрез пилотно </a:t>
                      </a:r>
                      <a:r>
                        <a:rPr kumimoji="0" lang="ru-RU" sz="15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прилагане</a:t>
                      </a:r>
                      <a:r>
                        <a:rPr kumimoji="0" lang="ru-RU" sz="15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на </a:t>
                      </a:r>
                      <a:r>
                        <a:rPr kumimoji="0" lang="bg-BG" sz="1500" b="1" i="0" u="none" strike="noStrike" kern="1200" cap="none" normalizeH="0" baseline="0" noProof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ваучерни</a:t>
                      </a:r>
                      <a:r>
                        <a:rPr kumimoji="0" lang="ru-RU" sz="15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kumimoji="0" lang="ru-RU" sz="15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схеми</a:t>
                      </a:r>
                      <a:r>
                        <a:rPr kumimoji="0" lang="ru-RU" sz="15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от ИАНМСП</a:t>
                      </a: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“</a:t>
                      </a:r>
                      <a:endParaRPr kumimoji="0" lang="bg-BG" sz="15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7 млн. евро</a:t>
                      </a:r>
                      <a:endParaRPr kumimoji="0" lang="en-US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опустими</a:t>
                      </a:r>
                      <a:r>
                        <a:rPr kumimoji="0" lang="ru-RU" sz="15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kumimoji="0" lang="ru-RU" sz="15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кандидати</a:t>
                      </a:r>
                      <a:r>
                        <a:rPr kumimoji="0" lang="ru-RU" sz="15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: 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ИАНМСП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опустими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kumimoji="0" lang="ru-RU" sz="15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ейности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: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ейности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,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свързани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с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предоставяне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на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ваучери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за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емитиране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на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ценни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книжа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на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капиталовите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пазари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и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ваучери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за ИКТ услуги.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екември</a:t>
                      </a:r>
                      <a:endParaRPr kumimoji="0" lang="ru-RU" sz="15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017 г.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3616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„</a:t>
                      </a:r>
                      <a:r>
                        <a:rPr kumimoji="0" lang="ru-RU" sz="15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Техническа</a:t>
                      </a: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kumimoji="0" lang="ru-RU" sz="15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помощ</a:t>
                      </a: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за 8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за </a:t>
                      </a:r>
                      <a:r>
                        <a:rPr kumimoji="0" lang="ru-RU" sz="15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завършване</a:t>
                      </a: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на </a:t>
                      </a:r>
                      <a:r>
                        <a:rPr kumimoji="0" lang="ru-RU" sz="15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подготвителните</a:t>
                      </a: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kumimoji="0" lang="ru-RU" sz="15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ейности</a:t>
                      </a: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,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необходими</a:t>
                      </a: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за </a:t>
                      </a:r>
                      <a:r>
                        <a:rPr kumimoji="0" lang="ru-RU" sz="15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стартиране</a:t>
                      </a: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на </a:t>
                      </a:r>
                      <a:r>
                        <a:rPr kumimoji="0" lang="ru-RU" sz="15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строителството</a:t>
                      </a: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на </a:t>
                      </a:r>
                      <a:r>
                        <a:rPr kumimoji="0" lang="ru-RU" sz="15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междусистемна</a:t>
                      </a: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kumimoji="0" lang="ru-RU" sz="15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газова</a:t>
                      </a: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kumimoji="0" lang="ru-RU" sz="15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връзка</a:t>
                      </a: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kumimoji="0" lang="ru-RU" sz="15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България-Сърбия</a:t>
                      </a: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“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bg-BG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bg-BG" sz="15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Franklin Gothic Book"/>
                          <a:ea typeface="+mn-ea"/>
                          <a:cs typeface="Arial" pitchFamily="34" charset="0"/>
                        </a:rPr>
                        <a:t>6 млн. евро</a:t>
                      </a:r>
                      <a:endParaRPr kumimoji="0" lang="en-US" sz="15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Franklin Gothic Book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Допустими</a:t>
                      </a:r>
                      <a:r>
                        <a:rPr kumimoji="0" lang="ru-RU" sz="15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kumimoji="0" lang="ru-RU" sz="15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кандидати</a:t>
                      </a:r>
                      <a:r>
                        <a:rPr kumimoji="0" lang="ru-RU" sz="15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: </a:t>
                      </a:r>
                      <a:r>
                        <a:rPr kumimoji="0" lang="ru-RU" sz="1500" b="0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Министерство на </a:t>
                      </a:r>
                      <a:r>
                        <a:rPr kumimoji="0" lang="ru-RU" sz="1500" b="0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енергетиката</a:t>
                      </a:r>
                      <a:endParaRPr kumimoji="0" lang="ru-RU" sz="1500" b="1" i="1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Допустими</a:t>
                      </a:r>
                      <a:r>
                        <a:rPr kumimoji="0" lang="ru-RU" sz="15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kumimoji="0" lang="ru-RU" sz="15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дейности</a:t>
                      </a:r>
                      <a:r>
                        <a:rPr kumimoji="0" lang="ru-RU" sz="15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: </a:t>
                      </a:r>
                      <a:r>
                        <a:rPr kumimoji="0" lang="ru-RU" sz="1500" b="0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Дейности</a:t>
                      </a:r>
                      <a:r>
                        <a:rPr kumimoji="0" lang="ru-RU" sz="1500" b="0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, </a:t>
                      </a:r>
                      <a:r>
                        <a:rPr kumimoji="0" lang="ru-RU" sz="1500" b="0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свързани</a:t>
                      </a:r>
                      <a:r>
                        <a:rPr kumimoji="0" lang="ru-RU" sz="1500" b="0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с </a:t>
                      </a:r>
                      <a:r>
                        <a:rPr kumimoji="0" lang="ru-RU" sz="1500" b="0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изготвяне</a:t>
                      </a:r>
                      <a:r>
                        <a:rPr kumimoji="0" lang="ru-RU" sz="1500" b="0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на </a:t>
                      </a:r>
                      <a:r>
                        <a:rPr kumimoji="0" lang="ru-RU" sz="1500" b="0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проучвания</a:t>
                      </a:r>
                      <a:r>
                        <a:rPr kumimoji="0" lang="ru-RU" sz="1500" b="0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и </a:t>
                      </a:r>
                      <a:r>
                        <a:rPr kumimoji="0" lang="ru-RU" sz="1500" b="0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анализи</a:t>
                      </a:r>
                      <a:r>
                        <a:rPr kumimoji="0" lang="ru-RU" sz="1500" b="0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, вкл. анализ „</a:t>
                      </a:r>
                      <a:r>
                        <a:rPr kumimoji="0" lang="ru-RU" sz="1500" b="0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разходи</a:t>
                      </a:r>
                      <a:r>
                        <a:rPr kumimoji="0" lang="ru-RU" sz="1500" b="0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-ползи“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0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Дейности</a:t>
                      </a:r>
                      <a:r>
                        <a:rPr kumimoji="0" lang="ru-RU" sz="1500" b="0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за </a:t>
                      </a:r>
                      <a:r>
                        <a:rPr kumimoji="0" lang="ru-RU" sz="1500" b="0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разработване</a:t>
                      </a:r>
                      <a:r>
                        <a:rPr kumimoji="0" lang="ru-RU" sz="1500" b="0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на </a:t>
                      </a:r>
                      <a:r>
                        <a:rPr kumimoji="0" lang="ru-RU" sz="1500" b="0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модел</a:t>
                      </a:r>
                      <a:r>
                        <a:rPr kumimoji="0" lang="ru-RU" sz="1500" b="0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за управление и </a:t>
                      </a:r>
                      <a:r>
                        <a:rPr kumimoji="0" lang="ru-RU" sz="1500" b="0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поддържане</a:t>
                      </a:r>
                      <a:r>
                        <a:rPr kumimoji="0" lang="ru-RU" sz="1500" b="0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на </a:t>
                      </a:r>
                      <a:r>
                        <a:rPr kumimoji="0" lang="ru-RU" sz="1500" b="0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газовата</a:t>
                      </a:r>
                      <a:r>
                        <a:rPr kumimoji="0" lang="ru-RU" sz="1500" b="0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0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инфраструктура;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0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Дейности</a:t>
                      </a:r>
                      <a:r>
                        <a:rPr kumimoji="0" lang="ru-RU" sz="1500" b="0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, </a:t>
                      </a:r>
                      <a:r>
                        <a:rPr kumimoji="0" lang="ru-RU" sz="1500" b="0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свързани</a:t>
                      </a:r>
                      <a:r>
                        <a:rPr kumimoji="0" lang="ru-RU" sz="1500" b="0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с </a:t>
                      </a:r>
                      <a:r>
                        <a:rPr kumimoji="0" lang="ru-RU" sz="1500" b="0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придобиване</a:t>
                      </a:r>
                      <a:r>
                        <a:rPr kumimoji="0" lang="ru-RU" sz="1500" b="0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на </a:t>
                      </a:r>
                      <a:r>
                        <a:rPr kumimoji="0" lang="ru-RU" sz="1500" b="0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ограничени</a:t>
                      </a:r>
                      <a:r>
                        <a:rPr kumimoji="0" lang="ru-RU" sz="1500" b="0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 </a:t>
                      </a:r>
                      <a:r>
                        <a:rPr kumimoji="0" lang="ru-RU" sz="1500" b="0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вещни</a:t>
                      </a:r>
                      <a:r>
                        <a:rPr kumimoji="0" lang="ru-RU" sz="1500" b="0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права, </a:t>
                      </a:r>
                      <a:r>
                        <a:rPr kumimoji="0" lang="ru-RU" sz="1500" b="0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сервитути</a:t>
                      </a:r>
                      <a:r>
                        <a:rPr kumimoji="0" lang="ru-RU" sz="1500" b="0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, право на </a:t>
                      </a:r>
                      <a:r>
                        <a:rPr kumimoji="0" lang="ru-RU" sz="1500" b="0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преминаване</a:t>
                      </a:r>
                      <a:r>
                        <a:rPr kumimoji="0" lang="ru-RU" sz="1500" b="0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и  др. права, </a:t>
                      </a:r>
                      <a:r>
                        <a:rPr kumimoji="0" lang="ru-RU" sz="1500" b="0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изискващи</a:t>
                      </a:r>
                      <a:r>
                        <a:rPr kumimoji="0" lang="ru-RU" sz="1500" b="0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се за </a:t>
                      </a:r>
                      <a:r>
                        <a:rPr kumimoji="0" lang="ru-RU" sz="1500" b="0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изпълнение</a:t>
                      </a:r>
                      <a:r>
                        <a:rPr kumimoji="0" lang="ru-RU" sz="1500" b="0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на проекта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0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Дейности</a:t>
                      </a:r>
                      <a:r>
                        <a:rPr kumimoji="0" lang="ru-RU" sz="1500" b="0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, </a:t>
                      </a:r>
                      <a:r>
                        <a:rPr kumimoji="0" lang="ru-RU" sz="1500" b="0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свързани</a:t>
                      </a:r>
                      <a:r>
                        <a:rPr kumimoji="0" lang="ru-RU" sz="1500" b="0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 с организация и управление на проекта.</a:t>
                      </a:r>
                      <a:endParaRPr kumimoji="0" lang="en-US" sz="1500" b="0" i="1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Franklin Gothic Book"/>
                          <a:ea typeface="+mn-ea"/>
                          <a:cs typeface="Arial" pitchFamily="34" charset="0"/>
                        </a:rPr>
                        <a:t>Декември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Franklin Gothic Book"/>
                          <a:ea typeface="+mn-ea"/>
                          <a:cs typeface="Arial" pitchFamily="34" charset="0"/>
                        </a:rPr>
                        <a:t>2017 г.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83006966"/>
      </p:ext>
    </p:extLst>
  </p:cSld>
  <p:clrMapOvr>
    <a:masterClrMapping/>
  </p:clrMapOvr>
  <p:transition spd="slow">
    <p:strips dir="rd"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2627784" y="6381328"/>
            <a:ext cx="4147806" cy="404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i="1" dirty="0">
              <a:solidFill>
                <a:srgbClr val="000000"/>
              </a:solidFill>
            </a:endParaRPr>
          </a:p>
        </p:txBody>
      </p:sp>
      <p:sp>
        <p:nvSpPr>
          <p:cNvPr id="11266" name="Title 3"/>
          <p:cNvSpPr>
            <a:spLocks noGrp="1"/>
          </p:cNvSpPr>
          <p:nvPr>
            <p:ph type="title"/>
          </p:nvPr>
        </p:nvSpPr>
        <p:spPr bwMode="auto">
          <a:xfrm>
            <a:off x="0" y="0"/>
            <a:ext cx="9144000" cy="119675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indent="0" algn="ctr">
              <a:buNone/>
              <a:defRPr/>
            </a:pPr>
            <a:r>
              <a:rPr lang="bg-BG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роцедури </a:t>
            </a:r>
            <a:r>
              <a:rPr lang="bg-BG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2018  </a:t>
            </a:r>
            <a:r>
              <a:rPr lang="bg-BG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– директно предоставяне</a:t>
            </a:r>
            <a:r>
              <a:rPr lang="ru-RU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</a:t>
            </a:r>
            <a:endParaRPr lang="bg-BG" sz="2400" dirty="0">
              <a:solidFill>
                <a:srgbClr val="002060"/>
              </a:solidFill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8849078"/>
              </p:ext>
            </p:extLst>
          </p:nvPr>
        </p:nvGraphicFramePr>
        <p:xfrm>
          <a:off x="0" y="1052736"/>
          <a:ext cx="9143999" cy="5805264"/>
        </p:xfrm>
        <a:graphic>
          <a:graphicData uri="http://schemas.openxmlformats.org/drawingml/2006/table">
            <a:tbl>
              <a:tblPr>
                <a:effectLst>
                  <a:innerShdw blurRad="114300">
                    <a:prstClr val="black"/>
                  </a:innerShdw>
                </a:effectLst>
              </a:tblPr>
              <a:tblGrid>
                <a:gridCol w="243669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6765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19435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4529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9350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Наименование на процедурата 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A22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Бюджет 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A22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опустими кандидати, дейности и разходи 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A22E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ата на обявяване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A22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298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Надграждане</a:t>
                      </a:r>
                      <a:r>
                        <a:rPr kumimoji="0" lang="ru-RU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и развитие на научно-технологичен парк „София Тех Парк“</a:t>
                      </a:r>
                      <a:r>
                        <a:rPr kumimoji="0" lang="ru-RU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endParaRPr kumimoji="0" lang="bg-BG" sz="15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0 258 850,72 евро</a:t>
                      </a:r>
                      <a:endParaRPr kumimoji="0" lang="en-US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опустими</a:t>
                      </a:r>
                      <a:r>
                        <a:rPr kumimoji="0" lang="ru-RU" sz="15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kumimoji="0" lang="ru-RU" sz="15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кандидати</a:t>
                      </a:r>
                      <a:r>
                        <a:rPr kumimoji="0" lang="ru-RU" sz="15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: 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София Тех Парк АД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5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опустими</a:t>
                      </a:r>
                      <a:r>
                        <a:rPr kumimoji="0" lang="ru-RU" sz="15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kumimoji="0" lang="ru-RU" sz="15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ейности</a:t>
                      </a:r>
                      <a:r>
                        <a:rPr kumimoji="0" lang="ru-RU" sz="15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: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ейности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за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интегрирана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инвестиционна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и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консултантска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подкрепа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за развитието,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институционално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оизграждане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и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функциониране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на вече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изградения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научно-технологичен парк.</a:t>
                      </a:r>
                      <a:endParaRPr kumimoji="0" lang="en-US" sz="15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5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Franklin Gothic Book"/>
                          <a:ea typeface="+mn-ea"/>
                          <a:cs typeface="Arial" pitchFamily="34" charset="0"/>
                        </a:rPr>
                        <a:t>С</a:t>
                      </a:r>
                      <a:r>
                        <a:rPr kumimoji="0" lang="bg-BG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ептември 2018 г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bg-BG" sz="15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57146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5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Arial" pitchFamily="34" charset="0"/>
                        </a:rPr>
                        <a:t>„Изграждане на междусистемна газова връзка Гърция –България“</a:t>
                      </a: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39 млн. евро</a:t>
                      </a:r>
                      <a:endParaRPr kumimoji="0" lang="en-US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5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опустими кандидати</a:t>
                      </a:r>
                      <a:r>
                        <a:rPr kumimoji="0" lang="bg-BG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: 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„Ай Си Джи Би“ АД </a:t>
                      </a:r>
                      <a:endParaRPr kumimoji="0" lang="bg-BG" sz="15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bg-BG" sz="15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5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опустими дейности: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ейности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,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свързани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с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работно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проектиране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;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ейности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за надзор;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ейности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за  доставка на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материали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и 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оборудване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;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-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Строително-монтажни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</a:t>
                      </a:r>
                      <a:r>
                        <a:rPr kumimoji="0" lang="ru-RU" sz="1500" b="0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работи</a:t>
                      </a:r>
                      <a:r>
                        <a:rPr kumimoji="0" 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.</a:t>
                      </a:r>
                      <a:endParaRPr kumimoji="0" lang="en-US" sz="15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69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bg-BG" sz="15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Юни </a:t>
                      </a:r>
                      <a:r>
                        <a:rPr kumimoji="0" lang="bg-BG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018 г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bg-BG" sz="15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bg-BG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46" marR="91446" marT="45718" marB="45718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4019493"/>
      </p:ext>
    </p:extLst>
  </p:cSld>
  <p:clrMapOvr>
    <a:masterClrMapping/>
  </p:clrMapOvr>
  <p:transition spd="slow">
    <p:strips dir="rd"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tint val="66000"/>
                <a:satMod val="1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/>
        </p:nvSpPr>
        <p:spPr>
          <a:xfrm>
            <a:off x="1142072" y="2060848"/>
            <a:ext cx="7390368" cy="2016224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>
            <a:lvl1pPr marL="640080" indent="-457200" algn="l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54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182880" indent="0" fontAlgn="auto">
              <a:spcAft>
                <a:spcPts val="0"/>
              </a:spcAft>
              <a:buClr>
                <a:srgbClr val="F14124">
                  <a:lumMod val="75000"/>
                </a:srgbClr>
              </a:buClr>
              <a:buFont typeface="Georgia" pitchFamily="18" charset="0"/>
              <a:buNone/>
            </a:pPr>
            <a:endParaRPr lang="bg-BG" sz="4000" dirty="0" smtClean="0">
              <a:gradFill>
                <a:gsLst>
                  <a:gs pos="0">
                    <a:prstClr val="black"/>
                  </a:gs>
                  <a:gs pos="40000">
                    <a:prstClr val="black">
                      <a:lumMod val="75000"/>
                      <a:lumOff val="25000"/>
                    </a:prstClr>
                  </a:gs>
                  <a:gs pos="100000">
                    <a:srgbClr val="212745">
                      <a:alpha val="65000"/>
                    </a:srgbClr>
                  </a:gs>
                </a:gsLst>
                <a:lin ang="5400000" scaled="0"/>
              </a:gradFill>
            </a:endParaRPr>
          </a:p>
          <a:p>
            <a:pPr marL="182880" indent="0" fontAlgn="auto">
              <a:spcAft>
                <a:spcPts val="0"/>
              </a:spcAft>
              <a:buClr>
                <a:srgbClr val="F14124">
                  <a:lumMod val="75000"/>
                </a:srgbClr>
              </a:buClr>
              <a:buFont typeface="Georgia" pitchFamily="18" charset="0"/>
              <a:buNone/>
            </a:pPr>
            <a:r>
              <a:rPr lang="bg-BG" sz="4000" dirty="0" smtClean="0">
                <a:solidFill>
                  <a:srgbClr val="002060"/>
                </a:solidFill>
              </a:rPr>
              <a:t>Благодаря за вниманието</a:t>
            </a:r>
            <a:endParaRPr lang="bg-BG" sz="4000" dirty="0">
              <a:solidFill>
                <a:srgbClr val="002060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578867" y="1598613"/>
            <a:ext cx="418174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880" lvl="0" algn="ctr" fontAlgn="auto">
              <a:spcAft>
                <a:spcPts val="0"/>
              </a:spcAft>
              <a:buClr>
                <a:srgbClr val="F14124">
                  <a:lumMod val="75000"/>
                </a:srgbClr>
              </a:buClr>
            </a:pPr>
            <a:r>
              <a:rPr lang="en-US" sz="4000" dirty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  <a:hlinkClick r:id="rId2"/>
              </a:rPr>
              <a:t>www.opic.bg</a:t>
            </a:r>
            <a:r>
              <a:rPr lang="bg-BG" sz="4000" dirty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</a:rPr>
              <a:t> 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725692" y="4725144"/>
            <a:ext cx="8075413" cy="1972851"/>
            <a:chOff x="773899" y="18005"/>
            <a:chExt cx="8075413" cy="1972851"/>
          </a:xfrm>
        </p:grpSpPr>
        <p:grpSp>
          <p:nvGrpSpPr>
            <p:cNvPr id="12" name="Group 11"/>
            <p:cNvGrpSpPr/>
            <p:nvPr/>
          </p:nvGrpSpPr>
          <p:grpSpPr>
            <a:xfrm>
              <a:off x="773899" y="195811"/>
              <a:ext cx="4893029" cy="1502945"/>
              <a:chOff x="773899" y="195811"/>
              <a:chExt cx="4893029" cy="1502945"/>
            </a:xfrm>
          </p:grpSpPr>
          <p:pic>
            <p:nvPicPr>
              <p:cNvPr id="15" name="Picture 14" descr="OPIC1BG_COLOR_DOWN.fw.png"/>
              <p:cNvPicPr>
                <a:picLocks noChangeAspect="1"/>
              </p:cNvPicPr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3768968" y="316217"/>
                <a:ext cx="1897960" cy="1376425"/>
              </a:xfrm>
              <a:prstGeom prst="rect">
                <a:avLst/>
              </a:prstGeom>
            </p:spPr>
          </p:pic>
          <p:pic>
            <p:nvPicPr>
              <p:cNvPr id="16" name="Picture 15" descr="Description: textEU+LOGO.fw.png"/>
              <p:cNvPicPr/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724"/>
              <a:stretch>
                <a:fillRect/>
              </a:stretch>
            </p:blipFill>
            <p:spPr bwMode="auto">
              <a:xfrm>
                <a:off x="773899" y="195811"/>
                <a:ext cx="1512168" cy="1502945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pic>
          <p:nvPicPr>
            <p:cNvPr id="13" name="Picture 5" descr="C:\Users\mdragomirova\Desktop\Logos\SMEI\ОП Инициатива за малки и средни предприятия\BG-text\Logo-SMEI-center-no-back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-3000" contrast="83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60232" y="18005"/>
              <a:ext cx="2189080" cy="19728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667077611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654DDAA-69BB-4BC9-A64E-D633361939AD}" type="slidenum">
              <a:rPr kumimoji="0" lang="bg-BG" sz="1200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bg-BG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23528" y="260648"/>
            <a:ext cx="8496944" cy="1224136"/>
          </a:xfrm>
        </p:spPr>
        <p:txBody>
          <a:bodyPr/>
          <a:lstStyle/>
          <a:p>
            <a:pPr marL="0" indent="0" algn="ctr">
              <a:buNone/>
            </a:pPr>
            <a:r>
              <a:rPr lang="ru-RU" sz="2400" dirty="0" err="1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Сключени</a:t>
            </a:r>
            <a:r>
              <a:rPr lang="ru-RU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договори на </a:t>
            </a:r>
            <a:r>
              <a:rPr lang="ru-RU" sz="2400" dirty="0" err="1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територията</a:t>
            </a:r>
            <a:r>
              <a:rPr lang="ru-RU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на </a:t>
            </a:r>
            <a:r>
              <a:rPr lang="ru-RU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ЮЗР </a:t>
            </a:r>
            <a:r>
              <a:rPr lang="ru-RU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в </a:t>
            </a:r>
            <a:r>
              <a:rPr lang="ru-RU" sz="2400" dirty="0" err="1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процедури</a:t>
            </a:r>
            <a:r>
              <a:rPr lang="ru-RU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по ОПИК 2014-2020 г. </a:t>
            </a:r>
            <a:r>
              <a:rPr lang="ru-RU" sz="2400" dirty="0" err="1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към</a:t>
            </a:r>
            <a:r>
              <a:rPr lang="ru-RU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30.11.2017 </a:t>
            </a:r>
            <a:r>
              <a:rPr lang="ru-RU" sz="24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г. </a:t>
            </a:r>
            <a:endParaRPr lang="bg-BG" sz="2400" dirty="0">
              <a:solidFill>
                <a:srgbClr val="002060"/>
              </a:solidFill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10" name="Content Placeholder 9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472735676"/>
              </p:ext>
            </p:extLst>
          </p:nvPr>
        </p:nvGraphicFramePr>
        <p:xfrm>
          <a:off x="214282" y="1285859"/>
          <a:ext cx="8715435" cy="52864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7444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02064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42033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818089"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600" u="none" strike="noStrike" dirty="0">
                          <a:effectLst/>
                        </a:rPr>
                        <a:t>Процедура</a:t>
                      </a:r>
                      <a:endParaRPr lang="bg-BG" sz="1600" b="1" i="0" u="none" strike="noStrike" dirty="0">
                        <a:solidFill>
                          <a:srgbClr val="FFFFFF"/>
                        </a:solidFill>
                        <a:effectLst/>
                        <a:latin typeface="Trebuchet MS"/>
                      </a:endParaRPr>
                    </a:p>
                  </a:txBody>
                  <a:tcPr marL="6115" marR="6115" marT="611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600" u="none" strike="noStrike" dirty="0">
                          <a:effectLst/>
                        </a:rPr>
                        <a:t>Брой </a:t>
                      </a:r>
                      <a:r>
                        <a:rPr lang="bg-BG" sz="1600" u="none" strike="noStrike" dirty="0" smtClean="0">
                          <a:effectLst/>
                        </a:rPr>
                        <a:t>договори за БФП</a:t>
                      </a:r>
                      <a:endParaRPr lang="bg-BG" sz="1600" b="1" i="0" u="none" strike="noStrike" dirty="0">
                        <a:solidFill>
                          <a:srgbClr val="FFFFFF"/>
                        </a:solidFill>
                        <a:effectLst/>
                        <a:latin typeface="Trebuchet MS"/>
                      </a:endParaRPr>
                    </a:p>
                  </a:txBody>
                  <a:tcPr marL="6115" marR="6115" marT="611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600" u="none" strike="noStrike" dirty="0">
                          <a:effectLst/>
                        </a:rPr>
                        <a:t>Договорена </a:t>
                      </a:r>
                      <a:r>
                        <a:rPr lang="bg-BG" sz="1600" u="none" strike="noStrike" dirty="0" smtClean="0">
                          <a:effectLst/>
                        </a:rPr>
                        <a:t>БФП</a:t>
                      </a:r>
                      <a:endParaRPr lang="bg-BG" sz="1600" b="1" i="0" u="none" strike="noStrike" dirty="0">
                        <a:solidFill>
                          <a:srgbClr val="FFFFFF"/>
                        </a:solidFill>
                        <a:effectLst/>
                        <a:latin typeface="Trebuchet MS"/>
                      </a:endParaRPr>
                    </a:p>
                  </a:txBody>
                  <a:tcPr marL="6115" marR="6115" marT="6115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1705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G16RFOP002-1.001 „ПОДКРЕПА ЗА ВНЕДРЯВАНЕ НА ИНОВАЦИИ В ПРЕДПРИЯТИЯТА“ </a:t>
                      </a:r>
                    </a:p>
                  </a:txBody>
                  <a:tcPr marL="6115" marR="6115" marT="611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</a:rPr>
                        <a:t>28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14 715 318.85 лв.</a:t>
                      </a:r>
                      <a:endParaRPr lang="bg-BG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2787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G16RFOP002-1.002 „ ПОДКРЕПА ЗА РАЗРАБОТВАНЕ НА ИНОВАЦИИ В СТАРТИРАЩИ ПРЕДПРИЯТИЯ“</a:t>
                      </a:r>
                    </a:p>
                  </a:txBody>
                  <a:tcPr marL="6115" marR="6115" marT="611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</a:rPr>
                        <a:t>27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10 002 083.99 лв.</a:t>
                      </a:r>
                      <a:endParaRPr lang="bg-BG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62787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G16RFOP002-2.001 „ПОДОБРЯВАНЕ НА ПРОИЗВОДСТВЕНИЯ КАПАЦИТЕТ В МСП“</a:t>
                      </a:r>
                    </a:p>
                  </a:txBody>
                  <a:tcPr marL="6115" marR="6115" marT="611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</a:rPr>
                        <a:t>99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47 911 130.29</a:t>
                      </a:r>
                      <a:r>
                        <a:rPr lang="bg-BG" sz="1600" b="0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 лв.</a:t>
                      </a:r>
                      <a:endParaRPr lang="bg-BG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62787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G16RFOP002-2.002 „РАЗВИТИЕ НА УПРАВЛЕНСКИЯ КАПАЦИТЕТ И РАСТЕЖ НА МСП“</a:t>
                      </a:r>
                    </a:p>
                  </a:txBody>
                  <a:tcPr marL="6115" marR="6115" marT="611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</a:rPr>
                        <a:t>113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8 282 149.96 лв.</a:t>
                      </a:r>
                      <a:endParaRPr lang="bg-BG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6322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G16RFOP002-3.001 „ЕНЕРГИЙНА ЕФЕКТИВНОСТ ЗА МАЛКИТЕ И СРЕДНИ ПРЕДПРИЯТИЯ“</a:t>
                      </a:r>
                      <a:endParaRPr lang="bg-BG" sz="1200" b="1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15" marR="6115" marT="611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bg-BG" sz="16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6</a:t>
                      </a:r>
                      <a:endParaRPr lang="bg-BG" sz="1600" b="0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115" marR="6115" marT="611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bg-BG" sz="16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5 243 853.72 лв.</a:t>
                      </a:r>
                    </a:p>
                  </a:txBody>
                  <a:tcPr marL="6115" marR="6115" marT="6115" marB="0" anchor="ctr"/>
                </a:tc>
              </a:tr>
              <a:tr h="46322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G16RFOP002-2.009 „</a:t>
                      </a:r>
                      <a:r>
                        <a:rPr lang="ru-RU" sz="1200" b="1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АЗВИТИЕ НА КЛЪСТЕРИ В БЪЛГАРИЯ</a:t>
                      </a:r>
                      <a:r>
                        <a:rPr lang="ru-RU" sz="12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“</a:t>
                      </a:r>
                      <a:endParaRPr lang="bg-BG" sz="1200" b="1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15" marR="6115" marT="611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bg-BG" sz="16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6</a:t>
                      </a:r>
                      <a:endParaRPr lang="bg-BG" sz="1600" b="0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115" marR="6115" marT="611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bg-BG" sz="16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 921 653.49 лв.</a:t>
                      </a:r>
                    </a:p>
                  </a:txBody>
                  <a:tcPr marL="6115" marR="6115" marT="6115" marB="0" anchor="ctr"/>
                </a:tc>
              </a:tr>
              <a:tr h="431356"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2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Общо сключени договори:</a:t>
                      </a:r>
                      <a:endParaRPr lang="bg-BG" sz="1200" b="1" i="0" u="none" strike="noStrike" dirty="0">
                        <a:solidFill>
                          <a:srgbClr val="FF0000"/>
                        </a:solidFill>
                        <a:effectLst/>
                        <a:latin typeface="Trebuchet MS"/>
                      </a:endParaRPr>
                    </a:p>
                  </a:txBody>
                  <a:tcPr marL="6115" marR="6115" marT="611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bg-BG" sz="16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49</a:t>
                      </a:r>
                      <a:endParaRPr lang="bg-BG" sz="16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115" marR="6115" marT="611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bg-BG" sz="16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44 076 190.30 лв.</a:t>
                      </a:r>
                    </a:p>
                  </a:txBody>
                  <a:tcPr marL="6115" marR="6115" marT="6115" marB="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609847"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200" b="1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Общо приключени договори:</a:t>
                      </a:r>
                      <a:endParaRPr lang="bg-BG" sz="1200" b="1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Trebuchet MS"/>
                      </a:endParaRPr>
                    </a:p>
                  </a:txBody>
                  <a:tcPr marL="6115" marR="6115" marT="611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2</a:t>
                      </a:r>
                      <a:endParaRPr lang="ru-RU" sz="16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115" marR="6115" marT="611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9 251 104.05 </a:t>
                      </a:r>
                      <a:r>
                        <a:rPr lang="ru-RU" sz="1600" b="1" i="0" u="none" strike="noStrike" kern="1200" dirty="0" err="1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лв</a:t>
                      </a:r>
                      <a:r>
                        <a:rPr lang="ru-RU" sz="16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.</a:t>
                      </a:r>
                      <a:endParaRPr lang="ru-RU" sz="16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115" marR="6115" marT="6115" marB="0" anchor="ctr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0734274"/>
      </p:ext>
    </p:extLst>
  </p:cSld>
  <p:clrMapOvr>
    <a:masterClrMapping/>
  </p:clrMapOvr>
  <p:transition spd="med">
    <p:wipe dir="d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654DDAA-69BB-4BC9-A64E-D633361939AD}" type="slidenum">
              <a:rPr kumimoji="0" lang="bg-BG" sz="1200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bg-BG" sz="12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0" y="116632"/>
            <a:ext cx="9143999" cy="1368152"/>
          </a:xfrm>
        </p:spPr>
        <p:txBody>
          <a:bodyPr anchor="ctr"/>
          <a:lstStyle/>
          <a:p>
            <a:pPr marL="0" indent="0" algn="ctr">
              <a:buNone/>
              <a:defRPr/>
            </a:pPr>
            <a:r>
              <a:rPr lang="bg-BG" sz="23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Сключени договори по процедури за директно предоставяне на безвъзмездна финансова помощ на територията на ЮЗР по ОПИК 2014-2020 г. към 30</a:t>
            </a:r>
            <a:r>
              <a:rPr lang="ru-RU" sz="23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.11.2017 </a:t>
            </a:r>
            <a:r>
              <a:rPr lang="ru-RU" sz="2300" dirty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г. 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1653982"/>
              </p:ext>
            </p:extLst>
          </p:nvPr>
        </p:nvGraphicFramePr>
        <p:xfrm>
          <a:off x="0" y="1460678"/>
          <a:ext cx="9144000" cy="5345681"/>
        </p:xfrm>
        <a:graphic>
          <a:graphicData uri="http://schemas.openxmlformats.org/drawingml/2006/table">
            <a:tbl>
              <a:tblPr/>
              <a:tblGrid>
                <a:gridCol w="5214942">
                  <a:extLst>
                    <a:ext uri="{9D8B030D-6E8A-4147-A177-3AD203B41FA5}">
                      <a16:colId xmlns="" xmlns:a16="http://schemas.microsoft.com/office/drawing/2014/main" val="3734845830"/>
                    </a:ext>
                  </a:extLst>
                </a:gridCol>
                <a:gridCol w="1785950">
                  <a:extLst>
                    <a:ext uri="{9D8B030D-6E8A-4147-A177-3AD203B41FA5}">
                      <a16:colId xmlns="" xmlns:a16="http://schemas.microsoft.com/office/drawing/2014/main" val="1642019084"/>
                    </a:ext>
                  </a:extLst>
                </a:gridCol>
                <a:gridCol w="2143108">
                  <a:extLst>
                    <a:ext uri="{9D8B030D-6E8A-4147-A177-3AD203B41FA5}">
                      <a16:colId xmlns="" xmlns:a16="http://schemas.microsoft.com/office/drawing/2014/main" val="2860246145"/>
                    </a:ext>
                  </a:extLst>
                </a:gridCol>
              </a:tblGrid>
              <a:tr h="611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Trebuchet MS" panose="020B0603020202020204" pitchFamily="34" charset="0"/>
                        </a:rPr>
                        <a:t>Процедура</a:t>
                      </a: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E67C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600" b="1" i="0" u="none" strike="noStrike" noProof="0" dirty="0" smtClean="0">
                          <a:solidFill>
                            <a:srgbClr val="FFFFFF"/>
                          </a:solidFill>
                          <a:effectLst/>
                          <a:latin typeface="Trebuchet MS" panose="020B0603020202020204" pitchFamily="34" charset="0"/>
                        </a:rPr>
                        <a:t>Брой договори за БФП</a:t>
                      </a:r>
                      <a:endParaRPr lang="bg-BG" sz="1600" b="1" i="0" u="none" strike="noStrike" noProof="0" dirty="0">
                        <a:solidFill>
                          <a:srgbClr val="FFFFFF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E67C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Trebuchet MS" panose="020B0603020202020204" pitchFamily="34" charset="0"/>
                        </a:rPr>
                        <a:t>Договорена </a:t>
                      </a:r>
                      <a:r>
                        <a:rPr lang="bg-BG" sz="16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rebuchet MS" panose="020B0603020202020204" pitchFamily="34" charset="0"/>
                        </a:rPr>
                        <a:t>БФП</a:t>
                      </a:r>
                      <a:endParaRPr lang="bg-BG" sz="1600" b="1" i="0" u="none" strike="noStrike" dirty="0">
                        <a:solidFill>
                          <a:srgbClr val="FFFFFF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E67C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415698760"/>
                  </a:ext>
                </a:extLst>
              </a:tr>
              <a:tr h="33799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G16RFOP002-1.003 ФАЗА 2 НА ПРОЕКТ „СЪЗДАВАНЕ НА НАУЧНО-ТЕХНОЛОГИЧЕН ПАРК“ </a:t>
                      </a:r>
                      <a:endParaRPr lang="ru-RU" sz="1100" b="1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3E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</a:rPr>
                        <a:t>1</a:t>
                      </a: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12 273 362.81 лв.</a:t>
                      </a: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829847467"/>
                  </a:ext>
                </a:extLst>
              </a:tr>
              <a:tr h="82718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G16RFOP002-1.004</a:t>
                      </a:r>
                      <a:r>
                        <a:rPr lang="bg-BG" sz="11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ВИШАВАНЕ КАЧЕСТВОТО, ЕФЕКТИВНОСТТА И ЕФИКАСНОСТТА НА ПРЕДЛАГАНИТЕ ОТ ПАТЕНТНО ВЕДОМСТВО НА РЕПУБЛИКА БЪЛГАРИЯ УСЛУГИ ЗА БИЗНЕСА, СВЪРЗАНИ СЪС ЗАКРИЛАТА НА ОБЕКТИТЕ НА ИНДУСТРИАЛНА СОБСТВЕНОСТ</a:t>
                      </a:r>
                      <a:endParaRPr lang="ru-RU" sz="1100" b="1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3E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3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8 797 339.19 лв.</a:t>
                      </a:r>
                      <a:endParaRPr lang="bg-BG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3EB"/>
                    </a:solidFill>
                  </a:tcPr>
                </a:tc>
              </a:tr>
              <a:tr h="82718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G16RFOP002-2.003 „СЪЗДАВАНЕ НА УСЛОВИЯ ЗА УСТОЙЧИВО РАЗВИТИЕ И УСПЕШНО ИНТЕГРИРАНЕ НА БЪЛГАРСКИТЕ ПРЕДПРИЯТИЯ НА ЕВРОПЕЙСКИТЕ И МЕЖДУНАРОДНИТЕ ПАЗАРИ ЧРЕЗ ПОДКРЕПА ДЕЙНОСТТА НА ИАНМСП“ </a:t>
                      </a:r>
                      <a:endParaRPr lang="ru-RU" sz="1100" b="1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3E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</a:rPr>
                        <a:t>3</a:t>
                      </a: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3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9 779 000.00 лв.</a:t>
                      </a: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3EB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321212964"/>
                  </a:ext>
                </a:extLst>
              </a:tr>
              <a:tr h="82718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G16RFOP002-2.004 „ПРЕДОСТАВЯНЕ НА ИНСТИТУЦИОНАЛНА ПОДКРЕПА НА ДАМТН ЗА ПОВИШАВАНЕ НА ЕФЕКТИВНОСТТА НА НАДЗОР НА ПАЗАРА, МЕТРОЛОГИЧНИЯ НАДЗОР И КОНТРОЛА НА КАЧЕСТВОТО НА ТЕЧНИТЕ ГОРИВА“ </a:t>
                      </a:r>
                      <a:endParaRPr lang="ru-RU" sz="1100" b="1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3E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</a:rPr>
                        <a:t>1</a:t>
                      </a: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1 999 953.82 лв.</a:t>
                      </a: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79184781"/>
                  </a:ext>
                </a:extLst>
              </a:tr>
              <a:tr h="49809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G16RFOP002-2.005 „ПОВИШАВАНЕ НА ЕФЕКТИВНОСТТА И ЕФИКАСНОСТТА НА УСЛУГИТЕ, ПРЕДЛАГАНИ ОТ КЗП ЗА БЪЛГАРСКИТЕ ПРЕДПРИЯТИЯ“ </a:t>
                      </a:r>
                      <a:endParaRPr lang="ru-RU" sz="1100" b="1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3E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</a:rPr>
                        <a:t>1</a:t>
                      </a: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3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5 866 563.00 лв.</a:t>
                      </a: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3EB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76142553"/>
                  </a:ext>
                </a:extLst>
              </a:tr>
              <a:tr h="49809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G16RFOP002-2.006 „ПОЗИЦИОНИРАНЕ НА БЪЛГАРИЯ КАТО ПОЗНАТА И ПРЕДПОЧИТАНА ДЕСТИНАЦИЯ ЗА ИНВЕСТИЦИИ ЧРЕЗ ПОДКРЕПА ДЕЙНОСТТА НА БАИ“ </a:t>
                      </a:r>
                      <a:endParaRPr lang="ru-RU" sz="1100" b="1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3E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</a:rPr>
                        <a:t>2</a:t>
                      </a: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9 779 150.00 лв.</a:t>
                      </a: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172194492"/>
                  </a:ext>
                </a:extLst>
              </a:tr>
              <a:tr h="66264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G16RFOP002-2.008 „ПРЕДОСТАВЯНЕ НА ИНСТИТУЦИОНАЛНА ПОДКРЕПА  НА ИА БСА ЗА ПОДОБРЯВАНЕ НА ИНФРАСТРУКТУРАТА ПО КАЧЕСТВОТО“ </a:t>
                      </a:r>
                      <a:endParaRPr lang="ru-RU" sz="1100" b="1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3E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</a:rPr>
                        <a:t>1</a:t>
                      </a: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3E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3 791 765.70 лв.</a:t>
                      </a: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3EB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25041204"/>
                  </a:ext>
                </a:extLst>
              </a:tr>
              <a:tr h="168995"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</a:rPr>
                        <a:t>Общо:</a:t>
                      </a: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bg-BG" sz="16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Trebuchet MS" panose="020B0603020202020204" pitchFamily="34" charset="0"/>
                        </a:rPr>
                        <a:t>10</a:t>
                      </a:r>
                      <a:endParaRPr lang="en-US" sz="1600" b="1" i="0" u="none" strike="noStrike" dirty="0">
                        <a:solidFill>
                          <a:srgbClr val="002060"/>
                        </a:solidFill>
                        <a:effectLst/>
                        <a:latin typeface="Trebuchet MS" panose="020B0603020202020204" pitchFamily="34" charset="0"/>
                      </a:endParaRP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6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52 287 134.52 </a:t>
                      </a:r>
                      <a:r>
                        <a:rPr lang="bg-BG" sz="16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лв.</a:t>
                      </a:r>
                    </a:p>
                  </a:txBody>
                  <a:tcPr marL="3447" marR="3447" marT="344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823398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43540973"/>
      </p:ext>
    </p:extLst>
  </p:cSld>
  <p:clrMapOvr>
    <a:masterClrMapping/>
  </p:clrMapOvr>
  <p:transition spd="med">
    <p:wipe dir="d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D:\Galia docs\Obshti dokumenti\Лого ОП Инициатива за малки и средни предприятия\BG-abrev\Logo-SMEI-cente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0958" y="1428736"/>
            <a:ext cx="1050194" cy="104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D:\Galia docs\Obshti dokumenti\Лого ОП Иновации и конкурентоспособност\Logo-BG\logo-bg-center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48" y="1357298"/>
            <a:ext cx="1214446" cy="10001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&amp;Rcy;&amp;iecy;&amp;zcy;&amp;ucy;&amp;lcy;&amp;tcy;&amp;acy;&amp;tcy; &amp;scy; &amp;icy;&amp;zcy;&amp;ocy;&amp;bcy;&amp;rcy;&amp;acy;&amp;zhcy;&amp;iecy;&amp;ncy;&amp;icy;&amp;iecy; &amp;zcy;&amp;acy; &amp;iecy;&amp;scy; &amp;Lcy;&amp;Ocy;&amp;Gcy;&amp;Ocy; &amp;iecy;&amp;fcy;&amp;rcy;&amp;rcy;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9058" y="1428736"/>
            <a:ext cx="1254861" cy="93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&amp;Rcy;&amp;iecy;&amp;zcy;&amp;ucy;&amp;lcy;&amp;tcy;&amp;acy;&amp;tcy; &amp;scy; &amp;icy;&amp;zcy;&amp;ocy;&amp;bcy;&amp;rcy;&amp;acy;&amp;zhcy;&amp;iecy;&amp;ncy;&amp;icy;&amp;iecy; &amp;zcy;&amp;acy; &amp;dcy;&amp;zhcy;&amp;iecy;&amp;rcy;&amp;iecy;&amp;mcy;&amp;icy; ec &amp;lcy;&amp;ocy;&amp;gcy;&amp;ocy;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6182" y="4357694"/>
            <a:ext cx="1189998" cy="5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&amp;Rcy;&amp;iecy;&amp;zcy;&amp;ucy;&amp;lcy;&amp;tcy;&amp;acy;&amp;tcy; &amp;scy; &amp;icy;&amp;zcy;&amp;ocy;&amp;bcy;&amp;rcy;&amp;acy;&amp;zhcy;&amp;iecy;&amp;ncy;&amp;icy;&amp;iecy; &amp;zcy;&amp;acy; &amp;fcy;&amp;ocy;&amp;ncy;&amp;dcy; &amp;ncy;&amp;acy; &amp;fcy;&amp;ocy;&amp;ncy;&amp;dcy;&amp;ocy;&amp;vcy;&amp;iecy; &amp;lcy;&amp;ocy;&amp;gcy;&amp;ocy;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48" y="4286256"/>
            <a:ext cx="128099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http://www.eif.org/img/eif_logos/eif-logo-basic-rgb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6644" y="4286256"/>
            <a:ext cx="1284432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2286000" y="2967334"/>
            <a:ext cx="500064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" indent="0" algn="ctr">
              <a:buNone/>
            </a:pPr>
            <a:r>
              <a:rPr lang="bg-BG" sz="24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Финансови инструменти</a:t>
            </a:r>
            <a:endParaRPr lang="bg-BG" sz="2400" b="1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8160685"/>
      </p:ext>
    </p:extLst>
  </p:cSld>
  <p:clrMapOvr>
    <a:masterClrMapping/>
  </p:clrMapOvr>
  <p:transition spd="med">
    <p:dissolv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052736"/>
          </a:xfrm>
        </p:spPr>
        <p:txBody>
          <a:bodyPr/>
          <a:lstStyle/>
          <a:p>
            <a:pPr marL="0" indent="0" algn="ctr">
              <a:lnSpc>
                <a:spcPct val="100000"/>
              </a:lnSpc>
              <a:buNone/>
            </a:pPr>
            <a:r>
              <a:rPr lang="en-US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en-US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</a:br>
            <a:r>
              <a:rPr lang="bg-BG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Рециклиран ресурс от изпълнението на JEREMIE</a:t>
            </a:r>
            <a:endParaRPr lang="bg-BG" sz="2400" dirty="0">
              <a:solidFill>
                <a:srgbClr val="002060"/>
              </a:solidFill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214282" y="1340768"/>
            <a:ext cx="8512623" cy="5184576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538163" lvl="2" algn="just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bg-BG" sz="1700" dirty="0" smtClean="0">
                <a:solidFill>
                  <a:srgbClr val="002060"/>
                </a:solidFill>
                <a:cs typeface="Tahoma" pitchFamily="34" charset="0"/>
              </a:rPr>
              <a:t>Прогнозната</a:t>
            </a:r>
            <a:r>
              <a:rPr lang="bg-BG" sz="1700" dirty="0" smtClean="0">
                <a:solidFill>
                  <a:srgbClr val="002060"/>
                </a:solidFill>
              </a:rPr>
              <a:t> стойност на рециклираните средства е </a:t>
            </a:r>
            <a:r>
              <a:rPr lang="bg-BG" sz="1700" b="1" dirty="0" smtClean="0">
                <a:solidFill>
                  <a:srgbClr val="002060"/>
                </a:solidFill>
              </a:rPr>
              <a:t>над 262 млн. евро;</a:t>
            </a:r>
          </a:p>
          <a:p>
            <a:pPr marL="538163" lvl="2" algn="just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bg-BG" sz="1700" dirty="0" smtClean="0">
                <a:solidFill>
                  <a:srgbClr val="002060"/>
                </a:solidFill>
              </a:rPr>
              <a:t>Рециклираният ресурс </a:t>
            </a:r>
            <a:r>
              <a:rPr lang="bg-BG" sz="1700" b="1" dirty="0" smtClean="0">
                <a:solidFill>
                  <a:srgbClr val="002060"/>
                </a:solidFill>
              </a:rPr>
              <a:t>се управлява от ЕИФ</a:t>
            </a:r>
            <a:r>
              <a:rPr lang="bg-BG" sz="1700" dirty="0" smtClean="0">
                <a:solidFill>
                  <a:srgbClr val="002060"/>
                </a:solidFill>
              </a:rPr>
              <a:t>, като мандатът му е удължен до 2025 г. с цел осигуряване на устойчивост на създадените инструменти; </a:t>
            </a:r>
          </a:p>
          <a:p>
            <a:pPr marL="538163" lvl="2" algn="just">
              <a:lnSpc>
                <a:spcPct val="130000"/>
              </a:lnSpc>
              <a:spcBef>
                <a:spcPts val="600"/>
              </a:spcBef>
              <a:buFont typeface="Arial" pitchFamily="34" charset="0"/>
              <a:buChar char="•"/>
            </a:pPr>
            <a:r>
              <a:rPr lang="bg-BG" sz="1700" b="1" dirty="0" smtClean="0">
                <a:solidFill>
                  <a:srgbClr val="002060"/>
                </a:solidFill>
              </a:rPr>
              <a:t>Инвестиционната стратегия </a:t>
            </a:r>
            <a:r>
              <a:rPr lang="bg-BG" sz="1700" dirty="0" smtClean="0">
                <a:solidFill>
                  <a:srgbClr val="002060"/>
                </a:solidFill>
              </a:rPr>
              <a:t>за използване на рециклирания ресурс предвижда прилагането на мерки в две основни направления:</a:t>
            </a:r>
          </a:p>
          <a:p>
            <a:pPr marL="995363" lvl="3" algn="just">
              <a:lnSpc>
                <a:spcPct val="130000"/>
              </a:lnSpc>
              <a:spcBef>
                <a:spcPts val="600"/>
              </a:spcBef>
              <a:buFont typeface="Courier New" pitchFamily="49" charset="0"/>
              <a:buChar char="o"/>
            </a:pPr>
            <a:r>
              <a:rPr lang="bg-BG" sz="1700" dirty="0" smtClean="0">
                <a:solidFill>
                  <a:srgbClr val="002060"/>
                </a:solidFill>
              </a:rPr>
              <a:t>подобряване на условията по </a:t>
            </a:r>
            <a:r>
              <a:rPr lang="bg-BG" sz="1700" b="1" dirty="0" smtClean="0">
                <a:solidFill>
                  <a:srgbClr val="002060"/>
                </a:solidFill>
              </a:rPr>
              <a:t>съществуващите дялови инструменти </a:t>
            </a:r>
            <a:r>
              <a:rPr lang="bg-BG" sz="1700" dirty="0" smtClean="0">
                <a:solidFill>
                  <a:srgbClr val="002060"/>
                </a:solidFill>
              </a:rPr>
              <a:t>с оглед превръщането им в по-пазарно ориентирани и </a:t>
            </a:r>
          </a:p>
          <a:p>
            <a:pPr marL="995363" lvl="3" algn="just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Font typeface="Courier New" pitchFamily="49" charset="0"/>
              <a:buChar char="o"/>
            </a:pPr>
            <a:r>
              <a:rPr lang="bg-BG" sz="1700" dirty="0" smtClean="0">
                <a:solidFill>
                  <a:srgbClr val="002060"/>
                </a:solidFill>
              </a:rPr>
              <a:t>въвеждане на </a:t>
            </a:r>
            <a:r>
              <a:rPr lang="bg-BG" sz="1700" b="1" dirty="0" smtClean="0">
                <a:solidFill>
                  <a:srgbClr val="002060"/>
                </a:solidFill>
              </a:rPr>
              <a:t>нови инструменти</a:t>
            </a:r>
            <a:r>
              <a:rPr lang="bg-BG" sz="1700" dirty="0" smtClean="0">
                <a:solidFill>
                  <a:srgbClr val="002060"/>
                </a:solidFill>
              </a:rPr>
              <a:t>, след получаване на достатъчно възстановени средства от съществуващи операции.</a:t>
            </a:r>
            <a:endParaRPr lang="bg-BG" sz="17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0344"/>
      </p:ext>
    </p:extLst>
  </p:cSld>
  <p:clrMapOvr>
    <a:masterClrMapping/>
  </p:clrMapOvr>
  <p:transition spd="med">
    <p:wipe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052736"/>
          </a:xfrm>
        </p:spPr>
        <p:txBody>
          <a:bodyPr/>
          <a:lstStyle/>
          <a:p>
            <a:pPr marL="0" indent="0" algn="ctr">
              <a:buNone/>
            </a:pPr>
            <a:r>
              <a:rPr lang="bg-BG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bg-BG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</a:br>
            <a:r>
              <a:rPr lang="bg-BG" sz="2400" dirty="0" smtClean="0">
                <a:solidFill>
                  <a:srgbClr val="002060"/>
                </a:solidFill>
                <a:latin typeface="Trebuchet MS" panose="020B0603020202020204" pitchFamily="34" charset="0"/>
                <a:ea typeface="Tahoma" pitchFamily="34" charset="0"/>
                <a:cs typeface="Tahoma" pitchFamily="34" charset="0"/>
              </a:rPr>
              <a:t>Рециклиран ресурс от изпълнението на JEREMIE</a:t>
            </a:r>
            <a:endParaRPr lang="bg-BG" sz="2400" dirty="0">
              <a:solidFill>
                <a:srgbClr val="002060"/>
              </a:solidFill>
              <a:latin typeface="Trebuchet MS" panose="020B060302020202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0" y="1196752"/>
            <a:ext cx="8964488" cy="5446958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309563" lvl="2" indent="0">
              <a:lnSpc>
                <a:spcPct val="130000"/>
              </a:lnSpc>
              <a:spcBef>
                <a:spcPts val="600"/>
              </a:spcBef>
              <a:buNone/>
            </a:pPr>
            <a:r>
              <a:rPr lang="bg-BG" sz="1600" b="1" dirty="0" smtClean="0">
                <a:solidFill>
                  <a:srgbClr val="002060"/>
                </a:solidFill>
              </a:rPr>
              <a:t>1. Съществуващи дялови инструменти </a:t>
            </a:r>
          </a:p>
          <a:p>
            <a:pPr marL="309563" lvl="2" indent="0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bg-BG" sz="1600" dirty="0" smtClean="0">
                <a:solidFill>
                  <a:srgbClr val="002060"/>
                </a:solidFill>
              </a:rPr>
              <a:t>Сключени са споразумения за </a:t>
            </a:r>
            <a:r>
              <a:rPr lang="bg-BG" sz="1600" b="1" dirty="0" smtClean="0">
                <a:solidFill>
                  <a:srgbClr val="002060"/>
                </a:solidFill>
              </a:rPr>
              <a:t>допълнително финансиране по два от съществуващите дялови инструменти</a:t>
            </a:r>
            <a:r>
              <a:rPr lang="bg-BG" sz="1600" dirty="0" smtClean="0">
                <a:solidFill>
                  <a:srgbClr val="002060"/>
                </a:solidFill>
              </a:rPr>
              <a:t>:</a:t>
            </a:r>
          </a:p>
          <a:p>
            <a:pPr marL="595313" lvl="2" indent="-285750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tabLst>
                <a:tab pos="628650" algn="l"/>
              </a:tabLst>
            </a:pPr>
            <a:r>
              <a:rPr lang="bg-BG" sz="1600" dirty="0" smtClean="0">
                <a:solidFill>
                  <a:srgbClr val="002060"/>
                </a:solidFill>
              </a:rPr>
              <a:t>	JER-009/5 Инструмент за промотиране на предприемачеството и предоставяне на първоначално финансиране, с финансов посредник </a:t>
            </a:r>
            <a:r>
              <a:rPr lang="bg-BG" sz="1600" b="1" dirty="0" err="1" smtClean="0">
                <a:solidFill>
                  <a:srgbClr val="002060"/>
                </a:solidFill>
              </a:rPr>
              <a:t>LauncHub</a:t>
            </a:r>
            <a:r>
              <a:rPr lang="bg-BG" sz="1600" dirty="0" smtClean="0">
                <a:solidFill>
                  <a:srgbClr val="002060"/>
                </a:solidFill>
              </a:rPr>
              <a:t>, допълнителен бюджет от 15 млн. евро</a:t>
            </a:r>
          </a:p>
          <a:p>
            <a:pPr marL="1052513" lvl="3" indent="-285750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Font typeface="Courier New" pitchFamily="49" charset="0"/>
              <a:buChar char="o"/>
              <a:tabLst>
                <a:tab pos="628650" algn="l"/>
              </a:tabLst>
            </a:pPr>
            <a:r>
              <a:rPr lang="bg-BG" dirty="0" smtClean="0">
                <a:solidFill>
                  <a:srgbClr val="002060"/>
                </a:solidFill>
              </a:rPr>
              <a:t>възможност за допълнителни инвестиции в компании, включени вече в портфейла на посредника, както и в нови предприятия</a:t>
            </a:r>
          </a:p>
          <a:p>
            <a:pPr marL="595313" lvl="2" indent="-285750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tabLst>
                <a:tab pos="628650" algn="l"/>
              </a:tabLst>
            </a:pPr>
            <a:r>
              <a:rPr lang="bg-BG" sz="1600" dirty="0" smtClean="0">
                <a:solidFill>
                  <a:srgbClr val="002060"/>
                </a:solidFill>
              </a:rPr>
              <a:t>JER-009/7 </a:t>
            </a:r>
            <a:r>
              <a:rPr lang="bg-BG" sz="1600" dirty="0" err="1" smtClean="0">
                <a:solidFill>
                  <a:srgbClr val="002060"/>
                </a:solidFill>
              </a:rPr>
              <a:t>Фондoве</a:t>
            </a:r>
            <a:r>
              <a:rPr lang="bg-BG" sz="1600" dirty="0" smtClean="0">
                <a:solidFill>
                  <a:srgbClr val="002060"/>
                </a:solidFill>
              </a:rPr>
              <a:t> за съфинансиране, с финансовите посредници </a:t>
            </a:r>
            <a:r>
              <a:rPr lang="bg-BG" sz="1600" b="1" dirty="0" err="1" smtClean="0">
                <a:solidFill>
                  <a:srgbClr val="002060"/>
                </a:solidFill>
              </a:rPr>
              <a:t>BlackPeak</a:t>
            </a:r>
            <a:r>
              <a:rPr lang="bg-BG" sz="1600" b="1" dirty="0" smtClean="0">
                <a:solidFill>
                  <a:srgbClr val="002060"/>
                </a:solidFill>
              </a:rPr>
              <a:t> Capital  и </a:t>
            </a:r>
            <a:r>
              <a:rPr lang="bg-BG" sz="1600" b="1" dirty="0" err="1" smtClean="0">
                <a:solidFill>
                  <a:srgbClr val="002060"/>
                </a:solidFill>
              </a:rPr>
              <a:t>Empower</a:t>
            </a:r>
            <a:r>
              <a:rPr lang="bg-BG" sz="1600" b="1" dirty="0" smtClean="0">
                <a:solidFill>
                  <a:srgbClr val="002060"/>
                </a:solidFill>
              </a:rPr>
              <a:t> Capital</a:t>
            </a:r>
            <a:r>
              <a:rPr lang="bg-BG" sz="1600" dirty="0" smtClean="0">
                <a:solidFill>
                  <a:srgbClr val="002060"/>
                </a:solidFill>
              </a:rPr>
              <a:t>, допълнителен бюджет от 20 млн. евро </a:t>
            </a:r>
          </a:p>
          <a:p>
            <a:pPr marL="1052513" lvl="3" indent="-285750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Font typeface="Courier New" pitchFamily="49" charset="0"/>
              <a:buChar char="o"/>
              <a:tabLst>
                <a:tab pos="628650" algn="l"/>
              </a:tabLst>
            </a:pPr>
            <a:r>
              <a:rPr lang="bg-BG" dirty="0" smtClean="0">
                <a:solidFill>
                  <a:srgbClr val="002060"/>
                </a:solidFill>
              </a:rPr>
              <a:t>възможност за допълнителни инвестиции в компании, включени вече в портфейла на </a:t>
            </a:r>
            <a:r>
              <a:rPr lang="bg-BG" dirty="0" err="1" smtClean="0">
                <a:solidFill>
                  <a:srgbClr val="002060"/>
                </a:solidFill>
              </a:rPr>
              <a:t>посредниците</a:t>
            </a:r>
            <a:r>
              <a:rPr lang="bg-BG" dirty="0" smtClean="0">
                <a:solidFill>
                  <a:srgbClr val="002060"/>
                </a:solidFill>
              </a:rPr>
              <a:t>, както и в нови предприятия. </a:t>
            </a:r>
          </a:p>
          <a:p>
            <a:pPr marL="309563" lvl="2" indent="0">
              <a:lnSpc>
                <a:spcPct val="130000"/>
              </a:lnSpc>
              <a:spcBef>
                <a:spcPts val="600"/>
              </a:spcBef>
              <a:buNone/>
              <a:tabLst>
                <a:tab pos="628650" algn="l"/>
              </a:tabLst>
            </a:pPr>
            <a:r>
              <a:rPr lang="bg-BG" sz="1600" b="1" dirty="0" smtClean="0">
                <a:solidFill>
                  <a:srgbClr val="002060"/>
                </a:solidFill>
              </a:rPr>
              <a:t>2. Нови дялови инструменти </a:t>
            </a:r>
          </a:p>
          <a:p>
            <a:pPr marL="595313" lvl="2" indent="-285750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tabLst>
                <a:tab pos="628650" algn="l"/>
              </a:tabLst>
            </a:pPr>
            <a:r>
              <a:rPr lang="bg-BG" sz="1600" dirty="0" smtClean="0">
                <a:solidFill>
                  <a:srgbClr val="002060"/>
                </a:solidFill>
              </a:rPr>
              <a:t>JER 009/8 </a:t>
            </a:r>
            <a:r>
              <a:rPr lang="bg-BG" sz="1600" b="1" dirty="0" smtClean="0">
                <a:solidFill>
                  <a:srgbClr val="002060"/>
                </a:solidFill>
              </a:rPr>
              <a:t>Фондове за ранен етап </a:t>
            </a:r>
            <a:r>
              <a:rPr lang="bg-BG" sz="1600" dirty="0" smtClean="0">
                <a:solidFill>
                  <a:srgbClr val="002060"/>
                </a:solidFill>
              </a:rPr>
              <a:t>с компонент за начално финансиране, с бюджет до 40 млн. евро. През м. декември 2016 г. е публикувана Поканата за заявяване на интерес, а ЕИФ е в процес на избор на финансови посредници по инструмента.</a:t>
            </a:r>
            <a:endParaRPr lang="bg-BG" sz="1600" dirty="0">
              <a:solidFill>
                <a:srgbClr val="002060"/>
              </a:solidFill>
            </a:endParaRPr>
          </a:p>
          <a:p>
            <a:endParaRPr lang="bg-BG" sz="16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53024"/>
      </p:ext>
    </p:extLst>
  </p:cSld>
  <p:clrMapOvr>
    <a:masterClrMapping/>
  </p:clrMapOvr>
  <p:transition spd="med">
    <p:wipe dir="u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836712"/>
          </a:xfrm>
        </p:spPr>
        <p:txBody>
          <a:bodyPr/>
          <a:lstStyle/>
          <a:p>
            <a:pPr algn="ctr">
              <a:buNone/>
            </a:pPr>
            <a:r>
              <a:rPr lang="bg-BG" sz="2500" b="1" dirty="0" smtClean="0">
                <a:solidFill>
                  <a:srgbClr val="2F5897"/>
                </a:solidFill>
              </a:rPr>
              <a:t/>
            </a:r>
            <a:br>
              <a:rPr lang="bg-BG" sz="2500" b="1" dirty="0" smtClean="0">
                <a:solidFill>
                  <a:srgbClr val="2F5897"/>
                </a:solidFill>
              </a:rPr>
            </a:br>
            <a:r>
              <a:rPr lang="bg-BG" sz="2500" dirty="0" smtClean="0">
                <a:solidFill>
                  <a:srgbClr val="002060"/>
                </a:solidFill>
              </a:rPr>
              <a:t>Финансови инструменти по ОПИК 2014-2020</a:t>
            </a:r>
            <a:endParaRPr lang="bg-BG" sz="2500" dirty="0">
              <a:solidFill>
                <a:srgbClr val="00206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214282" y="1071546"/>
            <a:ext cx="8715436" cy="5786454"/>
          </a:xfrm>
          <a:prstGeom prst="rect">
            <a:avLst/>
          </a:prstGeom>
        </p:spPr>
        <p:txBody>
          <a:bodyPr>
            <a:noAutofit/>
          </a:bodyPr>
          <a:lstStyle/>
          <a:p>
            <a:pPr marL="266700" lvl="2" indent="-180975" algn="just">
              <a:lnSpc>
                <a:spcPts val="1800"/>
              </a:lnSpc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  <a:tabLst>
                <a:tab pos="266700" algn="l"/>
                <a:tab pos="628650" algn="l"/>
              </a:tabLst>
            </a:pPr>
            <a:r>
              <a:rPr lang="bg-BG" sz="1900" dirty="0" smtClean="0">
                <a:solidFill>
                  <a:srgbClr val="002060"/>
                </a:solidFill>
              </a:rPr>
              <a:t>През настоящия програмен период финансовите инструменти, финансирани със средства от Европейските структурни и инвестиционни фондове,  с изключение на Инициативата за МСП, се изпълняват чрез </a:t>
            </a:r>
            <a:r>
              <a:rPr lang="bg-BG" sz="1900" b="1" dirty="0" smtClean="0">
                <a:solidFill>
                  <a:srgbClr val="002060"/>
                </a:solidFill>
              </a:rPr>
              <a:t>Фонд на фондовете - Фонд мениджър на финансови инструменти в България </a:t>
            </a:r>
            <a:r>
              <a:rPr lang="bg-BG" sz="1900" dirty="0" smtClean="0">
                <a:solidFill>
                  <a:srgbClr val="002060"/>
                </a:solidFill>
              </a:rPr>
              <a:t>(ФМФИБ), българско еднолично акционерно дружество с държавно участие;</a:t>
            </a:r>
          </a:p>
          <a:p>
            <a:pPr marL="266700" lvl="2" indent="-180975" algn="just">
              <a:lnSpc>
                <a:spcPts val="1800"/>
              </a:lnSpc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  <a:tabLst>
                <a:tab pos="266700" algn="l"/>
                <a:tab pos="628650" algn="l"/>
              </a:tabLst>
            </a:pPr>
            <a:r>
              <a:rPr lang="bg-BG" sz="1900" dirty="0" smtClean="0">
                <a:solidFill>
                  <a:srgbClr val="002060"/>
                </a:solidFill>
              </a:rPr>
              <a:t>На 01.08.2016 г. Управляващият орган сключи финансово споразумение с ФМФИБ за възлагане управлението и изпълнението на финансовите инструменти по ОПИК;</a:t>
            </a:r>
          </a:p>
          <a:p>
            <a:pPr marL="266700" lvl="2" indent="-180975" algn="just">
              <a:lnSpc>
                <a:spcPts val="1800"/>
              </a:lnSpc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  <a:tabLst>
                <a:tab pos="266700" algn="l"/>
                <a:tab pos="628650" algn="l"/>
              </a:tabLst>
            </a:pPr>
            <a:r>
              <a:rPr lang="bg-BG" sz="1900" dirty="0" smtClean="0">
                <a:solidFill>
                  <a:srgbClr val="002060"/>
                </a:solidFill>
              </a:rPr>
              <a:t>Инвестициите чрез финансови инструменти ще бъдат възложени на избрани от ФМФИБ с тръжна процедура финансови посредници; </a:t>
            </a:r>
          </a:p>
          <a:p>
            <a:pPr marL="266700" lvl="2" indent="-180975" algn="just">
              <a:lnSpc>
                <a:spcPts val="1800"/>
              </a:lnSpc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  <a:tabLst>
                <a:tab pos="266700" algn="l"/>
                <a:tab pos="628650" algn="l"/>
              </a:tabLst>
            </a:pPr>
            <a:r>
              <a:rPr lang="bg-BG" sz="1900" dirty="0" smtClean="0">
                <a:solidFill>
                  <a:srgbClr val="002060"/>
                </a:solidFill>
              </a:rPr>
              <a:t>Въз основа на сключени оперативни споразумения, посредниците ще избират крайните получатели на помощта по съответния инструмент/фонд;</a:t>
            </a:r>
          </a:p>
          <a:p>
            <a:pPr marL="266700" lvl="2" indent="-180975" algn="just">
              <a:lnSpc>
                <a:spcPts val="1800"/>
              </a:lnSpc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  <a:tabLst>
                <a:tab pos="266700" algn="l"/>
                <a:tab pos="628650" algn="l"/>
              </a:tabLst>
            </a:pPr>
            <a:r>
              <a:rPr lang="bg-BG" sz="1900" dirty="0" smtClean="0">
                <a:solidFill>
                  <a:srgbClr val="002060"/>
                </a:solidFill>
              </a:rPr>
              <a:t>В рамките на ОПИК 2014-2020 планираната подкрепа за малки, средни и големи предприятия чрез финансови инструменти е в размер на 235 млн. евро, което представлява 1/5 от общия бюджет на оперативната програма</a:t>
            </a:r>
            <a:endParaRPr lang="bg-BG" sz="19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0644708"/>
      </p:ext>
    </p:extLst>
  </p:cSld>
  <p:clrMapOvr>
    <a:masterClrMapping/>
  </p:clrMapOvr>
  <p:transition spd="med">
    <p:wipe dir="u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052736"/>
          </a:xfrm>
        </p:spPr>
        <p:txBody>
          <a:bodyPr/>
          <a:lstStyle/>
          <a:p>
            <a:pPr algn="ctr">
              <a:lnSpc>
                <a:spcPct val="100000"/>
              </a:lnSpc>
              <a:buNone/>
            </a:pPr>
            <a:r>
              <a:rPr lang="bg-BG" sz="2500" dirty="0" smtClean="0">
                <a:solidFill>
                  <a:srgbClr val="2F5897"/>
                </a:solidFill>
              </a:rPr>
              <a:t/>
            </a:r>
            <a:br>
              <a:rPr lang="bg-BG" sz="2500" dirty="0" smtClean="0">
                <a:solidFill>
                  <a:srgbClr val="2F5897"/>
                </a:solidFill>
              </a:rPr>
            </a:br>
            <a:r>
              <a:rPr lang="bg-BG" sz="2500" dirty="0" smtClean="0">
                <a:solidFill>
                  <a:srgbClr val="002060"/>
                </a:solidFill>
              </a:rPr>
              <a:t>Финансови инструменти по ОПИК 2014-2020</a:t>
            </a:r>
            <a:endParaRPr lang="bg-BG" sz="2500" dirty="0">
              <a:solidFill>
                <a:srgbClr val="002060"/>
              </a:solidFill>
            </a:endParaRP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952719497"/>
              </p:ext>
            </p:extLst>
          </p:nvPr>
        </p:nvGraphicFramePr>
        <p:xfrm>
          <a:off x="457200" y="1071546"/>
          <a:ext cx="8229600" cy="55721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83027771"/>
      </p:ext>
    </p:extLst>
  </p:cSld>
  <p:clrMapOvr>
    <a:masterClrMapping/>
  </p:clrMapOvr>
  <p:transition spd="med">
    <p:wipe dir="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72JRiKl0qAEBlBiuKV_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72JRiKl0qAEBlBiuKV_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72JRiKl0qAEBlBiuKV_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72JRiKl0qAEBlBiuKV_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r4k5zfLkusNWhUYWYp4w"/>
</p:tagLst>
</file>

<file path=ppt/theme/theme1.xml><?xml version="1.0" encoding="utf-8"?>
<a:theme xmlns:a="http://schemas.openxmlformats.org/drawingml/2006/main" name="Ppt0000003">
  <a:themeElements>
    <a:clrScheme name="Ppt0000003 1">
      <a:dk1>
        <a:srgbClr val="050595"/>
      </a:dk1>
      <a:lt1>
        <a:srgbClr val="FFFFFF"/>
      </a:lt1>
      <a:dk2>
        <a:srgbClr val="000000"/>
      </a:dk2>
      <a:lt2>
        <a:srgbClr val="FFFF99"/>
      </a:lt2>
      <a:accent1>
        <a:srgbClr val="FFC000"/>
      </a:accent1>
      <a:accent2>
        <a:srgbClr val="3497AE"/>
      </a:accent2>
      <a:accent3>
        <a:srgbClr val="AAAAAA"/>
      </a:accent3>
      <a:accent4>
        <a:srgbClr val="DADADA"/>
      </a:accent4>
      <a:accent5>
        <a:srgbClr val="FFDCAA"/>
      </a:accent5>
      <a:accent6>
        <a:srgbClr val="2E889D"/>
      </a:accent6>
      <a:hlink>
        <a:srgbClr val="F3EB4F"/>
      </a:hlink>
      <a:folHlink>
        <a:srgbClr val="7DDDFF"/>
      </a:folHlink>
    </a:clrScheme>
    <a:fontScheme name="Ppt0000003">
      <a:majorFont>
        <a:latin typeface="Calibri"/>
        <a:ea typeface=""/>
        <a:cs typeface="Arial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pt0000003 1">
        <a:dk1>
          <a:srgbClr val="050595"/>
        </a:dk1>
        <a:lt1>
          <a:srgbClr val="FFFFFF"/>
        </a:lt1>
        <a:dk2>
          <a:srgbClr val="000000"/>
        </a:dk2>
        <a:lt2>
          <a:srgbClr val="FFFF99"/>
        </a:lt2>
        <a:accent1>
          <a:srgbClr val="FFC000"/>
        </a:accent1>
        <a:accent2>
          <a:srgbClr val="3497AE"/>
        </a:accent2>
        <a:accent3>
          <a:srgbClr val="AAAAAA"/>
        </a:accent3>
        <a:accent4>
          <a:srgbClr val="DADADA"/>
        </a:accent4>
        <a:accent5>
          <a:srgbClr val="FFDCAA"/>
        </a:accent5>
        <a:accent6>
          <a:srgbClr val="2E889D"/>
        </a:accent6>
        <a:hlink>
          <a:srgbClr val="F3EB4F"/>
        </a:hlink>
        <a:folHlink>
          <a:srgbClr val="7DDDFF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4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5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6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7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8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9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10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11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12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13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14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15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16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17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18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5.xml><?xml version="1.0" encoding="utf-8"?>
<a:theme xmlns:a="http://schemas.openxmlformats.org/drawingml/2006/main" name="9_OPIK-Portrait_Transperant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6.xml><?xml version="1.0" encoding="utf-8"?>
<a:theme xmlns:a="http://schemas.openxmlformats.org/drawingml/2006/main" name="OPIK-Portrait_Transperant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7.xml><?xml version="1.0" encoding="utf-8"?>
<a:theme xmlns:a="http://schemas.openxmlformats.org/drawingml/2006/main" name="1_OPIK-Portrait_Transperant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8.xml><?xml version="1.0" encoding="utf-8"?>
<a:theme xmlns:a="http://schemas.openxmlformats.org/drawingml/2006/main" name="2_OPIK-Portrait_Transperant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9.xml><?xml version="1.0" encoding="utf-8"?>
<a:theme xmlns:a="http://schemas.openxmlformats.org/drawingml/2006/main" name="19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Slipstream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30.xml><?xml version="1.0" encoding="utf-8"?>
<a:theme xmlns:a="http://schemas.openxmlformats.org/drawingml/2006/main" name="3_OPIK-Portrait_Transperant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31.xml><?xml version="1.0" encoding="utf-8"?>
<a:theme xmlns:a="http://schemas.openxmlformats.org/drawingml/2006/main" name="4_OPIK-Portrait_Transperant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32.xml><?xml version="1.0" encoding="utf-8"?>
<a:theme xmlns:a="http://schemas.openxmlformats.org/drawingml/2006/main" name="5_OPIK-Portrait_Transperant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33.xml><?xml version="1.0" encoding="utf-8"?>
<a:theme xmlns:a="http://schemas.openxmlformats.org/drawingml/2006/main" name="6_OPIK-Portrait_Transperant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34.xml><?xml version="1.0" encoding="utf-8"?>
<a:theme xmlns:a="http://schemas.openxmlformats.org/drawingml/2006/main" name="7_OPIK-Portrait_Transperant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35.xml><?xml version="1.0" encoding="utf-8"?>
<a:theme xmlns:a="http://schemas.openxmlformats.org/drawingml/2006/main" name="8_OPIK-Portrait_Transperant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36.xml><?xml version="1.0" encoding="utf-8"?>
<a:theme xmlns:a="http://schemas.openxmlformats.org/drawingml/2006/main" name="20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3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Slipstream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3_Slipstream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4_Slipstream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2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3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479</TotalTime>
  <Words>2996</Words>
  <Application>Microsoft Office PowerPoint</Application>
  <PresentationFormat>On-screen Show (4:3)</PresentationFormat>
  <Paragraphs>441</Paragraphs>
  <Slides>27</Slides>
  <Notes>7</Notes>
  <HiddenSlides>0</HiddenSlides>
  <MMClips>0</MMClips>
  <ScaleCrop>false</ScaleCrop>
  <HeadingPairs>
    <vt:vector size="4" baseType="variant">
      <vt:variant>
        <vt:lpstr>Theme</vt:lpstr>
      </vt:variant>
      <vt:variant>
        <vt:i4>36</vt:i4>
      </vt:variant>
      <vt:variant>
        <vt:lpstr>Slide Titles</vt:lpstr>
      </vt:variant>
      <vt:variant>
        <vt:i4>27</vt:i4>
      </vt:variant>
    </vt:vector>
  </HeadingPairs>
  <TitlesOfParts>
    <vt:vector size="63" baseType="lpstr">
      <vt:lpstr>Ppt0000003</vt:lpstr>
      <vt:lpstr>OPIK-Portrait_Transperant_14</vt:lpstr>
      <vt:lpstr>1_Slipstream</vt:lpstr>
      <vt:lpstr>2_Slipstream</vt:lpstr>
      <vt:lpstr>1_OPIK-Portrait_Transperant_14</vt:lpstr>
      <vt:lpstr>3_Slipstream</vt:lpstr>
      <vt:lpstr>4_Slipstream</vt:lpstr>
      <vt:lpstr>2_OPIK-Portrait_Transperant_14</vt:lpstr>
      <vt:lpstr>3_OPIK-Portrait_Transperant_14</vt:lpstr>
      <vt:lpstr>4_OPIK-Portrait_Transperant_14</vt:lpstr>
      <vt:lpstr>5_OPIK-Portrait_Transperant_14</vt:lpstr>
      <vt:lpstr>6_OPIK-Portrait_Transperant_14</vt:lpstr>
      <vt:lpstr>7_OPIK-Portrait_Transperant_14</vt:lpstr>
      <vt:lpstr>8_OPIK-Portrait_Transperant_14</vt:lpstr>
      <vt:lpstr>9_OPIK-Portrait_Transperant_14</vt:lpstr>
      <vt:lpstr>10_OPIK-Portrait_Transperant_14</vt:lpstr>
      <vt:lpstr>11_OPIK-Portrait_Transperant_14</vt:lpstr>
      <vt:lpstr>12_OPIK-Portrait_Transperant_14</vt:lpstr>
      <vt:lpstr>13_OPIK-Portrait_Transperant_14</vt:lpstr>
      <vt:lpstr>14_OPIK-Portrait_Transperant_14</vt:lpstr>
      <vt:lpstr>15_OPIK-Portrait_Transperant_14</vt:lpstr>
      <vt:lpstr>16_OPIK-Portrait_Transperant_14</vt:lpstr>
      <vt:lpstr>17_OPIK-Portrait_Transperant_14</vt:lpstr>
      <vt:lpstr>18_OPIK-Portrait_Transperant_14</vt:lpstr>
      <vt:lpstr>9_OPIK-Portrait_Transperant</vt:lpstr>
      <vt:lpstr>OPIK-Portrait_Transperant</vt:lpstr>
      <vt:lpstr>1_OPIK-Portrait_Transperant</vt:lpstr>
      <vt:lpstr>2_OPIK-Portrait_Transperant</vt:lpstr>
      <vt:lpstr>19_OPIK-Portrait_Transperant_14</vt:lpstr>
      <vt:lpstr>3_OPIK-Portrait_Transperant</vt:lpstr>
      <vt:lpstr>4_OPIK-Portrait_Transperant</vt:lpstr>
      <vt:lpstr>5_OPIK-Portrait_Transperant</vt:lpstr>
      <vt:lpstr>6_OPIK-Portrait_Transperant</vt:lpstr>
      <vt:lpstr>7_OPIK-Portrait_Transperant</vt:lpstr>
      <vt:lpstr>8_OPIK-Portrait_Transperant</vt:lpstr>
      <vt:lpstr>20_OPIK-Portrait_Transperant_14</vt:lpstr>
      <vt:lpstr>Напредък в изпълнението на  ОП “Иновации и конкурентоспособност“   2014-2020</vt:lpstr>
      <vt:lpstr>      Общ преглед на напредъка в изпълнението на                 ОПИК 2014-2020 г. към 30.11.2017 г. </vt:lpstr>
      <vt:lpstr>Сключени договори на територията на ЮЗР в процедури по ОПИК 2014-2020 г. към 30.11.2017 г. </vt:lpstr>
      <vt:lpstr>Сключени договори по процедури за директно предоставяне на безвъзмездна финансова помощ на територията на ЮЗР по ОПИК 2014-2020 г. към 30.11.2017 г. </vt:lpstr>
      <vt:lpstr>PowerPoint Presentation</vt:lpstr>
      <vt:lpstr> Рециклиран ресурс от изпълнението на JEREMIE</vt:lpstr>
      <vt:lpstr> Рециклиран ресурс от изпълнението на JEREMIE</vt:lpstr>
      <vt:lpstr> Финансови инструменти по ОПИК 2014-2020</vt:lpstr>
      <vt:lpstr> Финансови инструменти по ОПИК 2014-2020</vt:lpstr>
      <vt:lpstr>PowerPoint Presentation</vt:lpstr>
      <vt:lpstr> Инициатива за МСП</vt:lpstr>
      <vt:lpstr>Инициатива за МСП</vt:lpstr>
      <vt:lpstr>PowerPoint Presentation</vt:lpstr>
      <vt:lpstr>PowerPoint Presentation</vt:lpstr>
      <vt:lpstr> Инициатива за МСП</vt:lpstr>
      <vt:lpstr>PowerPoint Presentation</vt:lpstr>
      <vt:lpstr>PowerPoint Presentation</vt:lpstr>
      <vt:lpstr>PowerPoint Presentation</vt:lpstr>
      <vt:lpstr>PowerPoint Presentation</vt:lpstr>
      <vt:lpstr>ПРЕДСТОЯЩИ ЗА ОБЯВЯВАНЕ ПРОЦЕДУРИ </vt:lpstr>
      <vt:lpstr>Процедури 2017 по ПО 2 „Предприемачество и капацитет за растеж на МСП“ </vt:lpstr>
      <vt:lpstr>Процедури 2018 по ПО 1 „Технологично развитие и иновации“ </vt:lpstr>
      <vt:lpstr>Процедури 2018 по ПО 1 „Технологично развитие и иновации“ </vt:lpstr>
      <vt:lpstr>Процедури 2018 по ПО 2 „Предприемачество и капацитет за растеж на МСП“ </vt:lpstr>
      <vt:lpstr>Процедури 2017  – директно предоставяне </vt:lpstr>
      <vt:lpstr>Процедури 2018  – директно предоставяне </vt:lpstr>
      <vt:lpstr>PowerPoint Presentation</vt:lpstr>
    </vt:vector>
  </TitlesOfParts>
  <Company>CM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e.gerdjikova</dc:creator>
  <cp:lastModifiedBy>IVO</cp:lastModifiedBy>
  <cp:revision>2637</cp:revision>
  <cp:lastPrinted>2017-05-11T10:20:47Z</cp:lastPrinted>
  <dcterms:created xsi:type="dcterms:W3CDTF">2011-06-13T12:15:19Z</dcterms:created>
  <dcterms:modified xsi:type="dcterms:W3CDTF">2017-12-05T05:13:42Z</dcterms:modified>
</cp:coreProperties>
</file>